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23" r:id="rId5"/>
  </p:sldMasterIdLst>
  <p:notesMasterIdLst>
    <p:notesMasterId r:id="rId12"/>
  </p:notesMasterIdLst>
  <p:handoutMasterIdLst>
    <p:handoutMasterId r:id="rId13"/>
  </p:handoutMasterIdLst>
  <p:sldIdLst>
    <p:sldId id="2146845595" r:id="rId6"/>
    <p:sldId id="2146845630" r:id="rId7"/>
    <p:sldId id="2146845633" r:id="rId8"/>
    <p:sldId id="2146845632" r:id="rId9"/>
    <p:sldId id="2146845631" r:id="rId10"/>
    <p:sldId id="2146845634" r:id="rId11"/>
  </p:sldIdLst>
  <p:sldSz cx="9144000" cy="5148263"/>
  <p:notesSz cx="6797675" cy="9928225"/>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10E9D83-8F5F-491F-86E9-3E5F1B1462D5}">
          <p14:sldIdLst>
            <p14:sldId id="2146845595"/>
            <p14:sldId id="2146845630"/>
            <p14:sldId id="2146845633"/>
            <p14:sldId id="2146845632"/>
            <p14:sldId id="2146845631"/>
            <p14:sldId id="2146845634"/>
          </p14:sldIdLst>
        </p14:section>
        <p14:section name="Agendas" id="{AF6C7C4F-0C5C-4801-898A-1C64B8631C29}">
          <p14:sldIdLst/>
        </p14:section>
        <p14:section name="Timelines" id="{CA1B7F47-8E40-4A26-86A9-5B14EB9A173E}">
          <p14:sldIdLst/>
        </p14:section>
        <p14:section name="Various Layouts" id="{EB772E3F-71AC-4A24-8961-DDD87C4889EB}">
          <p14:sldIdLst/>
        </p14:section>
        <p14:section name="Maps &amp; Flags" id="{BB4B5476-0978-470F-808D-AD68019E2E08}">
          <p14:sldIdLst/>
        </p14:section>
        <p14:section name="Pictos" id="{03F217B7-4CD8-461C-AE11-F36E3E940C9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F8FCFE"/>
    <a:srgbClr val="EEF7FC"/>
    <a:srgbClr val="CACACA"/>
    <a:srgbClr val="4E4E4E"/>
    <a:srgbClr val="DE39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70" autoAdjust="0"/>
  </p:normalViewPr>
  <p:slideViewPr>
    <p:cSldViewPr snapToGrid="0" snapToObjects="1">
      <p:cViewPr>
        <p:scale>
          <a:sx n="141" d="100"/>
          <a:sy n="141" d="100"/>
        </p:scale>
        <p:origin x="789" y="64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6768"/>
    </p:cViewPr>
  </p:sorterViewPr>
  <p:notesViewPr>
    <p:cSldViewPr snapToGrid="0" snapToObjects="1" showGuides="1">
      <p:cViewPr varScale="1">
        <p:scale>
          <a:sx n="81" d="100"/>
          <a:sy n="81" d="100"/>
        </p:scale>
        <p:origin x="3912"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CH" dirty="0">
              <a:latin typeface="Noto Sans" panose="020B0502040504020204" pitchFamily="34"/>
              <a:ea typeface="Noto Sans" panose="020B0502040504020204" pitchFamily="34"/>
              <a:cs typeface="Noto Sans" panose="020B0502040504020204" pitchFamily="34"/>
            </a:endParaRPr>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C42C5664-46DA-4CAE-8F7B-A270FF4B2B96}" type="datetimeFigureOut">
              <a:rPr lang="de-CH" smtClean="0">
                <a:latin typeface="Noto Sans" panose="020B0502040504020204" pitchFamily="34"/>
                <a:ea typeface="Noto Sans" panose="020B0502040504020204" pitchFamily="34"/>
                <a:cs typeface="Noto Sans" panose="020B0502040504020204" pitchFamily="34"/>
              </a:rPr>
              <a:t>24.03.2023</a:t>
            </a:fld>
            <a:endParaRPr lang="de-CH" dirty="0">
              <a:latin typeface="Noto Sans" panose="020B0502040504020204" pitchFamily="34"/>
              <a:ea typeface="Noto Sans" panose="020B0502040504020204" pitchFamily="34"/>
              <a:cs typeface="Noto Sans" panose="020B0502040504020204" pitchFamily="34"/>
            </a:endParaRPr>
          </a:p>
        </p:txBody>
      </p:sp>
      <p:sp>
        <p:nvSpPr>
          <p:cNvPr id="5" name="Foliennummernplatzhalter 4"/>
          <p:cNvSpPr>
            <a:spLocks noGrp="1"/>
          </p:cNvSpPr>
          <p:nvPr>
            <p:ph type="sldNum" sz="quarter" idx="3"/>
          </p:nvPr>
        </p:nvSpPr>
        <p:spPr>
          <a:xfrm>
            <a:off x="3413118" y="9431150"/>
            <a:ext cx="2945659" cy="496411"/>
          </a:xfrm>
          <a:prstGeom prst="rect">
            <a:avLst/>
          </a:prstGeom>
        </p:spPr>
        <p:txBody>
          <a:bodyPr vert="horz" lIns="91440" tIns="45720" rIns="91440" bIns="45720" rtlCol="0" anchor="b"/>
          <a:lstStyle>
            <a:lvl1pPr algn="r">
              <a:defRPr sz="1200"/>
            </a:lvl1pPr>
          </a:lstStyle>
          <a:p>
            <a:fld id="{19377899-81A6-468F-AF97-88D7E3D645EA}" type="slidenum">
              <a:rPr lang="de-CH" smtClean="0">
                <a:latin typeface="Noto Sans" panose="020B0502040504020204" pitchFamily="34"/>
                <a:ea typeface="Noto Sans" panose="020B0502040504020204" pitchFamily="34"/>
                <a:cs typeface="Noto Sans" panose="020B0502040504020204" pitchFamily="34"/>
              </a:rPr>
              <a:t>‹Nr.›</a:t>
            </a:fld>
            <a:endParaRPr lang="de-CH" dirty="0">
              <a:latin typeface="Noto Sans" panose="020B0502040504020204" pitchFamily="34"/>
              <a:ea typeface="Noto Sans" panose="020B0502040504020204" pitchFamily="34"/>
              <a:cs typeface="Noto Sans" panose="020B0502040504020204" pitchFamily="34"/>
            </a:endParaRPr>
          </a:p>
        </p:txBody>
      </p:sp>
    </p:spTree>
    <p:extLst>
      <p:ext uri="{BB962C8B-B14F-4D97-AF65-F5344CB8AC3E}">
        <p14:creationId xmlns:p14="http://schemas.microsoft.com/office/powerpoint/2010/main" val="34744623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Noto Sans" panose="020B0502040504020204" pitchFamily="34"/>
                <a:ea typeface="Noto Sans" panose="020B0502040504020204" pitchFamily="34"/>
                <a:cs typeface="Noto Sans" panose="020B0502040504020204" pitchFamily="34"/>
              </a:defRPr>
            </a:lvl1pPr>
          </a:lstStyle>
          <a:p>
            <a:endParaRPr lang="de-CH" dirty="0"/>
          </a:p>
        </p:txBody>
      </p:sp>
      <p:sp>
        <p:nvSpPr>
          <p:cNvPr id="3" name="Date Placeholder 2"/>
          <p:cNvSpPr>
            <a:spLocks noGrp="1"/>
          </p:cNvSpPr>
          <p:nvPr>
            <p:ph type="dt" idx="1"/>
          </p:nvPr>
        </p:nvSpPr>
        <p:spPr>
          <a:xfrm>
            <a:off x="3852016" y="0"/>
            <a:ext cx="2945659" cy="496411"/>
          </a:xfrm>
          <a:prstGeom prst="rect">
            <a:avLst/>
          </a:prstGeom>
        </p:spPr>
        <p:txBody>
          <a:bodyPr vert="horz" lIns="91440" tIns="45720" rIns="91440" bIns="45720" rtlCol="0"/>
          <a:lstStyle>
            <a:lvl1pPr algn="r">
              <a:defRPr sz="1200">
                <a:latin typeface="Noto Sans" panose="020B0502040504020204" pitchFamily="34"/>
                <a:ea typeface="Noto Sans" panose="020B0502040504020204" pitchFamily="34"/>
                <a:cs typeface="Noto Sans" panose="020B0502040504020204" pitchFamily="34"/>
              </a:defRPr>
            </a:lvl1pPr>
          </a:lstStyle>
          <a:p>
            <a:fld id="{17B6C743-A10E-47C8-BC59-1F4C5357CECD}" type="datetimeFigureOut">
              <a:rPr lang="de-CH" smtClean="0"/>
              <a:pPr/>
              <a:t>24.03.2023</a:t>
            </a:fld>
            <a:endParaRPr lang="de-CH" dirty="0"/>
          </a:p>
        </p:txBody>
      </p:sp>
      <p:sp>
        <p:nvSpPr>
          <p:cNvPr id="4" name="Slide Image Placeholder 3"/>
          <p:cNvSpPr>
            <a:spLocks noGrp="1" noRot="1" noChangeAspect="1"/>
          </p:cNvSpPr>
          <p:nvPr>
            <p:ph type="sldImg" idx="2"/>
          </p:nvPr>
        </p:nvSpPr>
        <p:spPr>
          <a:xfrm>
            <a:off x="93663" y="744538"/>
            <a:ext cx="6610350" cy="3722687"/>
          </a:xfrm>
          <a:prstGeom prst="rect">
            <a:avLst/>
          </a:prstGeom>
          <a:noFill/>
          <a:ln w="12700">
            <a:solidFill>
              <a:prstClr val="black"/>
            </a:solidFill>
          </a:ln>
        </p:spPr>
        <p:txBody>
          <a:bodyPr vert="horz" lIns="91440" tIns="45720" rIns="91440" bIns="45720" rtlCol="0" anchor="ctr"/>
          <a:lstStyle/>
          <a:p>
            <a:endParaRPr lang="de-CH" dirty="0"/>
          </a:p>
        </p:txBody>
      </p:sp>
      <p:sp>
        <p:nvSpPr>
          <p:cNvPr id="5" name="Notes Placeholder 4"/>
          <p:cNvSpPr>
            <a:spLocks noGrp="1"/>
          </p:cNvSpPr>
          <p:nvPr>
            <p:ph type="body" sz="quarter" idx="3"/>
          </p:nvPr>
        </p:nvSpPr>
        <p:spPr>
          <a:xfrm>
            <a:off x="380796" y="4715907"/>
            <a:ext cx="6036084" cy="4467701"/>
          </a:xfrm>
          <a:prstGeom prst="rect">
            <a:avLst/>
          </a:prstGeom>
        </p:spPr>
        <p:txBody>
          <a:bodyPr vert="horz" lIns="91440" tIns="45720" rIns="91440" bIns="45720" rtlCol="0"/>
          <a:lstStyle/>
          <a:p>
            <a:pPr lvl="0"/>
            <a:r>
              <a:rPr lang="de-CH" dirty="0"/>
              <a:t>Click </a:t>
            </a:r>
            <a:r>
              <a:rPr lang="de-CH" dirty="0" err="1"/>
              <a:t>to</a:t>
            </a:r>
            <a:r>
              <a:rPr lang="de-CH" dirty="0"/>
              <a:t> </a:t>
            </a:r>
            <a:r>
              <a:rPr lang="de-CH" dirty="0" err="1"/>
              <a:t>edit</a:t>
            </a:r>
            <a:r>
              <a:rPr lang="de-CH" dirty="0"/>
              <a:t> Master </a:t>
            </a:r>
            <a:r>
              <a:rPr lang="de-CH" dirty="0" err="1"/>
              <a:t>text</a:t>
            </a:r>
            <a:r>
              <a:rPr lang="de-CH" dirty="0"/>
              <a:t> </a:t>
            </a:r>
            <a:r>
              <a:rPr lang="de-CH" dirty="0" err="1"/>
              <a:t>styles</a:t>
            </a:r>
            <a:endParaRPr lang="de-CH" dirty="0"/>
          </a:p>
          <a:p>
            <a:pPr lvl="1"/>
            <a:r>
              <a:rPr lang="de-CH" dirty="0"/>
              <a:t>Second </a:t>
            </a:r>
            <a:r>
              <a:rPr lang="de-CH" dirty="0" err="1"/>
              <a:t>level</a:t>
            </a:r>
            <a:endParaRPr lang="de-CH" dirty="0"/>
          </a:p>
          <a:p>
            <a:pPr lvl="2"/>
            <a:r>
              <a:rPr lang="de-CH" dirty="0"/>
              <a:t>Third </a:t>
            </a:r>
            <a:r>
              <a:rPr lang="de-CH" dirty="0" err="1"/>
              <a:t>level</a:t>
            </a:r>
            <a:endParaRPr lang="de-CH" dirty="0"/>
          </a:p>
          <a:p>
            <a:pPr lvl="3"/>
            <a:r>
              <a:rPr lang="de-CH" dirty="0" err="1"/>
              <a:t>Fourth</a:t>
            </a:r>
            <a:r>
              <a:rPr lang="de-CH" dirty="0"/>
              <a:t> </a:t>
            </a:r>
            <a:r>
              <a:rPr lang="de-CH" dirty="0" err="1"/>
              <a:t>level</a:t>
            </a:r>
            <a:endParaRPr lang="de-CH" dirty="0"/>
          </a:p>
          <a:p>
            <a:pPr lvl="4"/>
            <a:r>
              <a:rPr lang="de-CH" dirty="0" err="1"/>
              <a:t>Fifth</a:t>
            </a:r>
            <a:r>
              <a:rPr lang="de-CH" dirty="0"/>
              <a:t> </a:t>
            </a:r>
            <a:r>
              <a:rPr lang="de-CH" dirty="0" err="1"/>
              <a:t>level</a:t>
            </a:r>
            <a:endParaRPr lang="de-CH" dirty="0"/>
          </a:p>
        </p:txBody>
      </p:sp>
      <p:sp>
        <p:nvSpPr>
          <p:cNvPr id="7" name="Slide Number Placeholder 6"/>
          <p:cNvSpPr>
            <a:spLocks noGrp="1"/>
          </p:cNvSpPr>
          <p:nvPr>
            <p:ph type="sldNum" sz="quarter" idx="5"/>
          </p:nvPr>
        </p:nvSpPr>
        <p:spPr>
          <a:xfrm>
            <a:off x="3850443" y="9430091"/>
            <a:ext cx="2566437" cy="496411"/>
          </a:xfrm>
          <a:prstGeom prst="rect">
            <a:avLst/>
          </a:prstGeom>
        </p:spPr>
        <p:txBody>
          <a:bodyPr vert="horz" lIns="91440" tIns="45720" rIns="0" bIns="45720" rtlCol="0" anchor="t"/>
          <a:lstStyle>
            <a:lvl1pPr algn="r">
              <a:defRPr sz="1200">
                <a:latin typeface="Noto Sans" panose="020B0502040504020204" pitchFamily="34"/>
                <a:ea typeface="Noto Sans" panose="020B0502040504020204" pitchFamily="34"/>
                <a:cs typeface="Noto Sans" panose="020B0502040504020204" pitchFamily="34"/>
              </a:defRPr>
            </a:lvl1pPr>
          </a:lstStyle>
          <a:p>
            <a:fld id="{658E930A-5398-49B6-87A7-9857631F53A7}" type="slidenum">
              <a:rPr lang="de-CH" smtClean="0"/>
              <a:pPr/>
              <a:t>‹Nr.›</a:t>
            </a:fld>
            <a:endParaRPr lang="de-CH" dirty="0"/>
          </a:p>
        </p:txBody>
      </p:sp>
    </p:spTree>
    <p:extLst>
      <p:ext uri="{BB962C8B-B14F-4D97-AF65-F5344CB8AC3E}">
        <p14:creationId xmlns:p14="http://schemas.microsoft.com/office/powerpoint/2010/main" val="3066604675"/>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2pPr>
    <a:lvl3pPr marL="9144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3pPr>
    <a:lvl4pPr marL="13716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4pPr>
    <a:lvl5pPr marL="18288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CH" sz="1200" b="0" i="0" u="none" strike="noStrike" kern="1200" cap="none" spc="0" normalizeH="0" baseline="0" noProof="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3655950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6.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8.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Noto Sa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87A6-F9B0-49EB-A6E0-44D0EE4F3FB3}"/>
              </a:ext>
            </a:extLst>
          </p:cNvPr>
          <p:cNvSpPr>
            <a:spLocks noGrp="1"/>
          </p:cNvSpPr>
          <p:nvPr>
            <p:ph type="title"/>
          </p:nvPr>
        </p:nvSpPr>
        <p:spPr>
          <a:xfrm>
            <a:off x="431540" y="349805"/>
            <a:ext cx="7631633" cy="640150"/>
          </a:xfrm>
        </p:spPr>
        <p:txBody>
          <a:bodyPr>
            <a:noAutofit/>
          </a:bodyPr>
          <a:lstStyle>
            <a:lvl1pPr marL="0" indent="0">
              <a:buFont typeface="Arial" panose="020B0604020202020204" pitchFamily="34" charset="0"/>
              <a:buNone/>
              <a:defRPr baseline="0">
                <a:latin typeface="Noto Sans" panose="020B0502040504020204" pitchFamily="34"/>
                <a:ea typeface="Noto Sans" panose="020B0502040504020204" pitchFamily="34"/>
                <a:cs typeface="Noto Sans" panose="020B0502040504020204" pitchFamily="34"/>
              </a:defRPr>
            </a:lvl1pPr>
          </a:lstStyle>
          <a:p>
            <a:endParaRPr lang="de-CH"/>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1"/>
            </p:custDataLst>
          </p:nvPr>
        </p:nvSpPr>
        <p:spPr>
          <a:xfrm>
            <a:off x="434569" y="1061963"/>
            <a:ext cx="7628604" cy="3456062"/>
          </a:xfrm>
        </p:spPr>
        <p:txBody>
          <a:bodyPr lIns="0" tIns="0" rIns="0" bIns="0">
            <a:normAutofit/>
          </a:bodyPr>
          <a:lstStyle>
            <a:lvl1pPr marL="285493" indent="-285493">
              <a:buFont typeface="Arial" panose="020B0604020202020204" pitchFamily="34" charset="0"/>
              <a:buChar char="•"/>
              <a:defRPr sz="1798"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tx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573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 X-Layer red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413FCF-E592-49C1-B012-B0E9108E2FF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590"/>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0" name="Inhaltsplatzhalter 2">
            <a:extLst>
              <a:ext uri="{FF2B5EF4-FFF2-40B4-BE49-F238E27FC236}">
                <a16:creationId xmlns:a16="http://schemas.microsoft.com/office/drawing/2014/main" id="{B67183BC-26B0-4B55-9C68-53EB4258FF86}"/>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293312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ayout X-Layer red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7AF92E-56C3-4EBC-96B5-5A72DCEA16A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2381"/>
            <a:ext cx="9144000" cy="2570957"/>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3B101405-171A-47D3-80F6-59DD566FB835}"/>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1" name="Inhaltsplatzhalter 2">
            <a:extLst>
              <a:ext uri="{FF2B5EF4-FFF2-40B4-BE49-F238E27FC236}">
                <a16:creationId xmlns:a16="http://schemas.microsoft.com/office/drawing/2014/main" id="{20ED8991-4CC1-44CA-A3D9-FDB51BA1C55A}"/>
              </a:ext>
            </a:extLst>
          </p:cNvPr>
          <p:cNvSpPr>
            <a:spLocks noGrp="1"/>
          </p:cNvSpPr>
          <p:nvPr>
            <p:ph idx="1" hasCustomPrompt="1"/>
            <p:custDataLst>
              <p:tags r:id="rId1"/>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2"/>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283789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X-Layer clay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60CD2-9B17-4BA8-8C8F-DCA35CFEEE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CED87DCB-6932-4D0D-A9D7-75361A3F35A0}"/>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18F9CD5-7141-452C-AECE-C3FF4C5A530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371"/>
            <a:ext cx="647700" cy="215756"/>
          </a:xfrm>
          <a:prstGeom prst="rect">
            <a:avLst/>
          </a:prstGeom>
        </p:spPr>
      </p:pic>
    </p:spTree>
    <p:extLst>
      <p:ext uri="{BB962C8B-B14F-4D97-AF65-F5344CB8AC3E}">
        <p14:creationId xmlns:p14="http://schemas.microsoft.com/office/powerpoint/2010/main" val="289306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X-Layer clay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087238C-71F7-4D49-958B-8942D5A5551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590"/>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9E0FD41E-F95D-40EB-B276-C7C239E3593B}"/>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335789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X-Layer clay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727B70-AFB6-4327-910F-A9178B37441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0000"/>
          <a:stretch/>
        </p:blipFill>
        <p:spPr>
          <a:xfrm>
            <a:off x="0" y="2381"/>
            <a:ext cx="9144000" cy="257175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2" name="Inhaltsplatzhalter 2">
            <a:extLst>
              <a:ext uri="{FF2B5EF4-FFF2-40B4-BE49-F238E27FC236}">
                <a16:creationId xmlns:a16="http://schemas.microsoft.com/office/drawing/2014/main" id="{D558F921-548D-4392-83A8-B2D7ECBB78C6}"/>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4" name="Title 1">
            <a:extLst>
              <a:ext uri="{FF2B5EF4-FFF2-40B4-BE49-F238E27FC236}">
                <a16:creationId xmlns:a16="http://schemas.microsoft.com/office/drawing/2014/main" id="{D854C64F-741A-4E32-BAA4-B7FA133FA5A5}"/>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Tree>
    <p:extLst>
      <p:ext uri="{BB962C8B-B14F-4D97-AF65-F5344CB8AC3E}">
        <p14:creationId xmlns:p14="http://schemas.microsoft.com/office/powerpoint/2010/main" val="239220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X-Layer marin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5FC8E4-42C1-4029-89B9-6A995DCB33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5882"/>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3686E557-EE99-46ED-A374-3D44A287936D}"/>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B905EA3-F82B-47DA-9C89-C975FD8253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
        <p:nvSpPr>
          <p:cNvPr id="6" name="TextBox 5">
            <a:extLst>
              <a:ext uri="{FF2B5EF4-FFF2-40B4-BE49-F238E27FC236}">
                <a16:creationId xmlns:a16="http://schemas.microsoft.com/office/drawing/2014/main" id="{E64330CD-C801-42A1-9FBA-4CECB1A000D2}"/>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51537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X-Layer marin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CF07AE-02EA-4F85-A54B-4E08D80741B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51559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X-Layer mar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9" name="Picture 8">
            <a:extLst>
              <a:ext uri="{FF2B5EF4-FFF2-40B4-BE49-F238E27FC236}">
                <a16:creationId xmlns:a16="http://schemas.microsoft.com/office/drawing/2014/main" id="{83D88738-22E9-4190-967C-79B73952E376}"/>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90165"/>
            <a:ext cx="9144000" cy="2663503"/>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0" name="Inhaltsplatzhalter 2">
            <a:extLst>
              <a:ext uri="{FF2B5EF4-FFF2-40B4-BE49-F238E27FC236}">
                <a16:creationId xmlns:a16="http://schemas.microsoft.com/office/drawing/2014/main" id="{C05EC94C-1CE0-4203-B595-8665F021E55C}"/>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1" name="Title 1">
            <a:extLst>
              <a:ext uri="{FF2B5EF4-FFF2-40B4-BE49-F238E27FC236}">
                <a16:creationId xmlns:a16="http://schemas.microsoft.com/office/drawing/2014/main" id="{BBFFADE9-879E-4F1E-A905-25BFF7528DC3}"/>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2" name="Rectangle 11">
            <a:extLst>
              <a:ext uri="{FF2B5EF4-FFF2-40B4-BE49-F238E27FC236}">
                <a16:creationId xmlns:a16="http://schemas.microsoft.com/office/drawing/2014/main" id="{F95EB810-656D-40D5-AE8F-0C2CE2831D36}"/>
              </a:ext>
            </a:extLst>
          </p:cNvPr>
          <p:cNvSpPr/>
          <p:nvPr userDrawn="1"/>
        </p:nvSpPr>
        <p:spPr>
          <a:xfrm>
            <a:off x="0" y="4913757"/>
            <a:ext cx="1809750" cy="2345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dirty="0">
              <a:latin typeface="Noto Sans" panose="020B0502040504020204" pitchFamily="34" charset="0"/>
              <a:ea typeface="Noto Sans" panose="020B0502040504020204" pitchFamily="34" charset="0"/>
            </a:endParaRPr>
          </a:p>
        </p:txBody>
      </p:sp>
    </p:spTree>
    <p:extLst>
      <p:ext uri="{BB962C8B-B14F-4D97-AF65-F5344CB8AC3E}">
        <p14:creationId xmlns:p14="http://schemas.microsoft.com/office/powerpoint/2010/main" val="14052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X-Layer horiz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F2D342-B119-48F4-84D4-F9F92B2D2A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B12AC6DE-0229-4CDE-B72D-8001245CFA28}"/>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1999675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X-Layer horizon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5DBC5-B4FB-4C97-837E-CB0BFFB9DA7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382309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Noto Seri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87A6-F9B0-49EB-A6E0-44D0EE4F3FB3}"/>
              </a:ext>
            </a:extLst>
          </p:cNvPr>
          <p:cNvSpPr>
            <a:spLocks noGrp="1"/>
          </p:cNvSpPr>
          <p:nvPr>
            <p:ph type="title" hasCustomPrompt="1"/>
          </p:nvPr>
        </p:nvSpPr>
        <p:spPr>
          <a:xfrm>
            <a:off x="431540" y="349805"/>
            <a:ext cx="7631633" cy="640150"/>
          </a:xfrm>
        </p:spPr>
        <p:txBody>
          <a:bodyPr/>
          <a:lstStyle>
            <a:lvl1pPr>
              <a:defRPr b="1">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1"/>
            </p:custDataLst>
          </p:nvPr>
        </p:nvSpPr>
        <p:spPr>
          <a:xfrm>
            <a:off x="434569" y="1061963"/>
            <a:ext cx="7628604" cy="3456062"/>
          </a:xfrm>
        </p:spPr>
        <p:txBody>
          <a:bodyPr lIns="0" tIns="0" rIns="0" bIns="0">
            <a:normAutofit/>
          </a:bodyPr>
          <a:lstStyle>
            <a:lvl1pPr marL="285493" indent="-285493">
              <a:buFont typeface="Arial" panose="020B0604020202020204" pitchFamily="34" charset="0"/>
              <a:buChar char="•"/>
              <a:defRPr sz="1798"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tx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49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X-Layer horizon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9C9C57-2AA4-4B62-91EE-578DCAE2006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0000"/>
          <a:stretch/>
        </p:blipFill>
        <p:spPr>
          <a:xfrm>
            <a:off x="0" y="2381"/>
            <a:ext cx="9144000" cy="257175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9" name="Inhaltsplatzhalter 2">
            <a:extLst>
              <a:ext uri="{FF2B5EF4-FFF2-40B4-BE49-F238E27FC236}">
                <a16:creationId xmlns:a16="http://schemas.microsoft.com/office/drawing/2014/main" id="{6F5B6B8C-06CF-4713-8D6A-DE7F83D2113C}"/>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0" name="Title 1">
            <a:extLst>
              <a:ext uri="{FF2B5EF4-FFF2-40B4-BE49-F238E27FC236}">
                <a16:creationId xmlns:a16="http://schemas.microsoft.com/office/drawing/2014/main" id="{94CC890A-2743-4B45-B32F-9FA01F230C2C}"/>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Tree>
    <p:extLst>
      <p:ext uri="{BB962C8B-B14F-4D97-AF65-F5344CB8AC3E}">
        <p14:creationId xmlns:p14="http://schemas.microsoft.com/office/powerpoint/2010/main" val="131556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5" name="Picture 14" descr="A picture containing sky, outdoor, building, city&#10;&#10;Description automatically generated">
            <a:extLst>
              <a:ext uri="{FF2B5EF4-FFF2-40B4-BE49-F238E27FC236}">
                <a16:creationId xmlns:a16="http://schemas.microsoft.com/office/drawing/2014/main" id="{9D7E48E7-EDC7-442B-BFAC-7F73EAC41A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flipH="1">
            <a:off x="0" y="1735"/>
            <a:ext cx="9144000" cy="5146527"/>
          </a:xfrm>
          <a:prstGeom prst="rect">
            <a:avLst/>
          </a:prstGeom>
        </p:spPr>
      </p:pic>
      <p:pic>
        <p:nvPicPr>
          <p:cNvPr id="6" name="Graphic 5">
            <a:extLst>
              <a:ext uri="{FF2B5EF4-FFF2-40B4-BE49-F238E27FC236}">
                <a16:creationId xmlns:a16="http://schemas.microsoft.com/office/drawing/2014/main" id="{47F1EB7F-C1DD-42C6-F351-74888144948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097" y="407748"/>
            <a:ext cx="1043856" cy="347720"/>
          </a:xfrm>
          <a:prstGeom prst="rect">
            <a:avLst/>
          </a:prstGeom>
        </p:spPr>
      </p:pic>
    </p:spTree>
    <p:extLst>
      <p:ext uri="{BB962C8B-B14F-4D97-AF65-F5344CB8AC3E}">
        <p14:creationId xmlns:p14="http://schemas.microsoft.com/office/powerpoint/2010/main" val="240272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61F299-195D-48A0-B3F9-D3FD0DEBCBF6}"/>
              </a:ext>
            </a:extLst>
          </p:cNvPr>
          <p:cNvPicPr>
            <a:picLocks noChangeAspect="1"/>
          </p:cNvPicPr>
          <p:nvPr userDrawn="1"/>
        </p:nvPicPr>
        <p:blipFill>
          <a:blip r:embed="rId2">
            <a:extLst>
              <a:ext uri="{28A0092B-C50C-407E-A947-70E740481C1C}">
                <a14:useLocalDpi xmlns:a14="http://schemas.microsoft.com/office/drawing/2010/main"/>
              </a:ext>
            </a:extLst>
          </a:blip>
          <a:srcRect t="7773" b="7773"/>
          <a:stretch/>
        </p:blipFill>
        <p:spPr>
          <a:xfrm>
            <a:off x="0" y="-4"/>
            <a:ext cx="9144000" cy="5148267"/>
          </a:xfrm>
          <a:prstGeom prst="rect">
            <a:avLst/>
          </a:prstGeom>
        </p:spPr>
      </p:pic>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86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3" name="Picture 2" descr="A picture containing water, scene, overlooking, day&#10;&#10;Description automatically generated">
            <a:extLst>
              <a:ext uri="{FF2B5EF4-FFF2-40B4-BE49-F238E27FC236}">
                <a16:creationId xmlns:a16="http://schemas.microsoft.com/office/drawing/2014/main" id="{698F41E8-973C-427C-BF7B-5976EF5CEA1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5100" b="10447"/>
          <a:stretch/>
        </p:blipFill>
        <p:spPr>
          <a:xfrm>
            <a:off x="-1" y="-3"/>
            <a:ext cx="9144001" cy="5148266"/>
          </a:xfrm>
          <a:prstGeom prst="rect">
            <a:avLst/>
          </a:prstGeom>
        </p:spPr>
      </p:pic>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638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1" name="Picture 10" descr="A few skyscrapers in a city&#10;&#10;Description automatically generated with low confidence">
            <a:extLst>
              <a:ext uri="{FF2B5EF4-FFF2-40B4-BE49-F238E27FC236}">
                <a16:creationId xmlns:a16="http://schemas.microsoft.com/office/drawing/2014/main" id="{92FEB541-F267-AB8F-99A7-A52BEC35392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1315" b="4232"/>
          <a:stretch/>
        </p:blipFill>
        <p:spPr>
          <a:xfrm>
            <a:off x="1" y="-2"/>
            <a:ext cx="9144000" cy="5148265"/>
          </a:xfrm>
          <a:prstGeom prst="rect">
            <a:avLst/>
          </a:prstGeom>
        </p:spPr>
      </p:pic>
      <p:sp>
        <p:nvSpPr>
          <p:cNvPr id="5" name="Rectangle 4">
            <a:extLst>
              <a:ext uri="{FF2B5EF4-FFF2-40B4-BE49-F238E27FC236}">
                <a16:creationId xmlns:a16="http://schemas.microsoft.com/office/drawing/2014/main" id="{3D9DD057-B93F-24F5-B6C7-A7220246A2FD}"/>
              </a:ext>
            </a:extLst>
          </p:cNvPr>
          <p:cNvSpPr/>
          <p:nvPr userDrawn="1"/>
        </p:nvSpPr>
        <p:spPr bwMode="gray">
          <a:xfrm rot="5400000" flipH="1">
            <a:off x="3922462" y="-73274"/>
            <a:ext cx="5148264" cy="5294810"/>
          </a:xfrm>
          <a:prstGeom prst="rect">
            <a:avLst/>
          </a:prstGeom>
          <a:gradFill>
            <a:gsLst>
              <a:gs pos="100000">
                <a:srgbClr val="225074">
                  <a:alpha val="0"/>
                </a:srgbClr>
              </a:gs>
              <a:gs pos="0">
                <a:srgbClr val="225074">
                  <a:alpha val="65000"/>
                </a:srgbClr>
              </a:gs>
              <a:gs pos="74000">
                <a:srgbClr val="225074">
                  <a:alpha val="33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pl-PL" dirty="0">
              <a:latin typeface="Noto Sans" panose="020B0502040504020204" pitchFamily="34" charset="0"/>
              <a:ea typeface="Noto Sans" panose="020B0502040504020204" pitchFamily="34" charset="0"/>
            </a:endParaRPr>
          </a:p>
        </p:txBody>
      </p:sp>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305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F0924382-609C-86F0-DFB8-93B05FD9F0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706" y="0"/>
            <a:ext cx="9163367" cy="5148263"/>
          </a:xfrm>
          <a:prstGeom prst="rect">
            <a:avLst/>
          </a:prstGeom>
        </p:spPr>
      </p:pic>
      <p:sp>
        <p:nvSpPr>
          <p:cNvPr id="5" name="Rectangle 4">
            <a:extLst>
              <a:ext uri="{FF2B5EF4-FFF2-40B4-BE49-F238E27FC236}">
                <a16:creationId xmlns:a16="http://schemas.microsoft.com/office/drawing/2014/main" id="{3D9DD057-B93F-24F5-B6C7-A7220246A2FD}"/>
              </a:ext>
            </a:extLst>
          </p:cNvPr>
          <p:cNvSpPr/>
          <p:nvPr userDrawn="1"/>
        </p:nvSpPr>
        <p:spPr bwMode="gray">
          <a:xfrm rot="5400000" flipH="1">
            <a:off x="2015699" y="-1960713"/>
            <a:ext cx="5148264" cy="9168073"/>
          </a:xfrm>
          <a:prstGeom prst="rect">
            <a:avLst/>
          </a:prstGeom>
          <a:gradFill>
            <a:gsLst>
              <a:gs pos="100000">
                <a:srgbClr val="225074">
                  <a:alpha val="60000"/>
                </a:srgbClr>
              </a:gs>
              <a:gs pos="0">
                <a:srgbClr val="225074">
                  <a:alpha val="70000"/>
                </a:srgbClr>
              </a:gs>
              <a:gs pos="74000">
                <a:srgbClr val="225074">
                  <a:alpha val="70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pl-PL" dirty="0">
              <a:latin typeface="Noto Sans" panose="020B0502040504020204" pitchFamily="34" charset="0"/>
              <a:ea typeface="Noto Sans" panose="020B0502040504020204" pitchFamily="34" charset="0"/>
            </a:endParaRPr>
          </a:p>
        </p:txBody>
      </p:sp>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0202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2" name="Picture 2" descr="\\cooper\Projects\SIX Group - officeatwork\Projects\PowerPoint\2015\Desktriptoren\SIX Innen.png">
            <a:extLst>
              <a:ext uri="{FF2B5EF4-FFF2-40B4-BE49-F238E27FC236}">
                <a16:creationId xmlns:a16="http://schemas.microsoft.com/office/drawing/2014/main" id="{6F92597E-0D88-2E3E-D6CC-6922B9DCC5A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18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01F70CF-4BAE-49DE-8843-A1022DFB3D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4"/>
            <a:ext cx="2573384" cy="5148267"/>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2" name="Picture 2" descr="\\cooper\Projects\SIX Group - officeatwork\Projects\PowerPoint\2015\Desktriptoren\SIX Innen.png">
            <a:extLst>
              <a:ext uri="{FF2B5EF4-FFF2-40B4-BE49-F238E27FC236}">
                <a16:creationId xmlns:a16="http://schemas.microsoft.com/office/drawing/2014/main" id="{CEE840AA-CFED-FF8D-A2D9-013B86B2E833}"/>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7E44A85-5B97-4588-9DA2-D8B72678B77E}"/>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90600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C42DED-EBA8-2760-7A2B-214BC631DEE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4382186" cy="5143503"/>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3" name="Graphic 2">
            <a:extLst>
              <a:ext uri="{FF2B5EF4-FFF2-40B4-BE49-F238E27FC236}">
                <a16:creationId xmlns:a16="http://schemas.microsoft.com/office/drawing/2014/main" id="{27117908-A1E6-7631-BEF5-7D8ED9BD17F8}"/>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885" y="290121"/>
            <a:ext cx="642141" cy="213904"/>
          </a:xfrm>
          <a:prstGeom prst="rect">
            <a:avLst/>
          </a:prstGeom>
        </p:spPr>
      </p:pic>
      <p:sp>
        <p:nvSpPr>
          <p:cNvPr id="6" name="TextBox 5">
            <a:extLst>
              <a:ext uri="{FF2B5EF4-FFF2-40B4-BE49-F238E27FC236}">
                <a16:creationId xmlns:a16="http://schemas.microsoft.com/office/drawing/2014/main" id="{06DE1EE7-59FB-4271-AE86-4115A5824F1C}"/>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422194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048D49-0281-4E08-8118-289C9A085D26}"/>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693" r="58924" b="1"/>
          <a:stretch/>
        </p:blipFill>
        <p:spPr bwMode="gray">
          <a:xfrm>
            <a:off x="431801" y="407748"/>
            <a:ext cx="549006" cy="182880"/>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9101E65B-A3F6-4A5A-9D02-19861BF9416F}"/>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 y="-1"/>
            <a:ext cx="2863780" cy="5148264"/>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3638BD90-4C0C-40B1-9645-651D92AE5699}"/>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182225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X-layer solid cover">
    <p:spTree>
      <p:nvGrpSpPr>
        <p:cNvPr id="1" name=""/>
        <p:cNvGrpSpPr/>
        <p:nvPr/>
      </p:nvGrpSpPr>
      <p:grpSpPr>
        <a:xfrm>
          <a:off x="0" y="0"/>
          <a:ext cx="0" cy="0"/>
          <a:chOff x="0" y="0"/>
          <a:chExt cx="0" cy="0"/>
        </a:xfrm>
      </p:grpSpPr>
      <p:sp>
        <p:nvSpPr>
          <p:cNvPr id="10" name="Untertitel 2" hidden="1">
            <a:extLst>
              <a:ext uri="{FF2B5EF4-FFF2-40B4-BE49-F238E27FC236}">
                <a16:creationId xmlns:a16="http://schemas.microsoft.com/office/drawing/2014/main" id="{9D00D0B2-B5D5-4200-A68A-383DEA6E4350}"/>
              </a:ext>
            </a:extLst>
          </p:cNvPr>
          <p:cNvSpPr txBox="1">
            <a:spLocks/>
          </p:cNvSpPr>
          <p:nvPr userDrawn="1">
            <p:custDataLst>
              <p:tags r:id="rId1"/>
            </p:custDataLst>
          </p:nvPr>
        </p:nvSpPr>
        <p:spPr>
          <a:xfrm>
            <a:off x="1475658" y="1322701"/>
            <a:ext cx="5670053" cy="685810"/>
          </a:xfrm>
          <a:prstGeom prst="rect">
            <a:avLst/>
          </a:prstGeom>
        </p:spPr>
        <p:txBody>
          <a:bodyPr vert="horz" lIns="0" tIns="0" rIns="0" bIns="0" rtlCol="0">
            <a:noAutofit/>
          </a:bodyPr>
          <a:lstStyle>
            <a:lvl1pPr marL="0" indent="0" algn="l" defTabSz="914400" rtl="0" eaLnBrk="1" latinLnBrk="0" hangingPunct="1">
              <a:lnSpc>
                <a:spcPct val="120000"/>
              </a:lnSpc>
              <a:spcBef>
                <a:spcPct val="20000"/>
              </a:spcBef>
              <a:buFont typeface="Arial" panose="020B0604020202020204" pitchFamily="34" charset="0"/>
              <a:buNone/>
              <a:defRPr lang="en-US" sz="1798" kern="120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2pPr>
            <a:lvl3pPr marL="913577"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3pPr>
            <a:lvl4pPr marL="1370366"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4pPr>
            <a:lvl5pPr marL="1827154"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5pPr>
            <a:lvl6pPr marL="2283943"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6pPr>
            <a:lvl7pPr marL="2740731"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7pPr>
            <a:lvl8pPr marL="3197520"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8pPr>
            <a:lvl9pPr marL="3654308"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9pPr>
          </a:lstStyle>
          <a:p>
            <a:r>
              <a:rPr lang="en-GB" sz="4000" b="1">
                <a:latin typeface="Noto Serif" panose="020B0502040504020204" pitchFamily="34" charset="0"/>
              </a:rPr>
              <a:t>Add a title here</a:t>
            </a:r>
            <a:endParaRPr lang="en-US" sz="4000" b="1">
              <a:latin typeface="Noto Serif" panose="020B0502040504020204" pitchFamily="34" charset="0"/>
            </a:endParaRPr>
          </a:p>
        </p:txBody>
      </p:sp>
      <p:pic>
        <p:nvPicPr>
          <p:cNvPr id="5" name="Picture 4">
            <a:extLst>
              <a:ext uri="{FF2B5EF4-FFF2-40B4-BE49-F238E27FC236}">
                <a16:creationId xmlns:a16="http://schemas.microsoft.com/office/drawing/2014/main" id="{05018883-E1DD-4291-BBC3-1E19190D336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0"/>
            <a:ext cx="9144000" cy="5148207"/>
          </a:xfrm>
          <a:prstGeom prst="rect">
            <a:avLst/>
          </a:prstGeom>
          <a:noFill/>
          <a:ln>
            <a:noFill/>
          </a:ln>
        </p:spPr>
      </p:pic>
      <p:sp>
        <p:nvSpPr>
          <p:cNvPr id="6" name="Textplatzhalter 64">
            <a:extLst>
              <a:ext uri="{FF2B5EF4-FFF2-40B4-BE49-F238E27FC236}">
                <a16:creationId xmlns:a16="http://schemas.microsoft.com/office/drawing/2014/main" id="{38035149-F443-4F93-BB8F-E2717CA30D14}"/>
              </a:ext>
            </a:extLst>
          </p:cNvPr>
          <p:cNvSpPr>
            <a:spLocks noGrp="1"/>
          </p:cNvSpPr>
          <p:nvPr>
            <p:ph type="body" sz="quarter" idx="11" hasCustomPrompt="1"/>
            <p:custDataLst>
              <p:tags r:id="rId2"/>
            </p:custDataLst>
          </p:nvPr>
        </p:nvSpPr>
        <p:spPr>
          <a:xfrm>
            <a:off x="1475656" y="2993539"/>
            <a:ext cx="3096344" cy="372680"/>
          </a:xfrm>
        </p:spPr>
        <p:txBody>
          <a:bodyPr wrap="none" lIns="0" rIns="0">
            <a:noAutofit/>
          </a:bodyPr>
          <a:lstStyle>
            <a:lvl1pPr marL="0" indent="0">
              <a:buFontTx/>
              <a:buNone/>
              <a:defRPr sz="1399" baseline="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buFontTx/>
              <a:buNone/>
              <a:defRPr/>
            </a:lvl2pPr>
            <a:lvl3pPr marL="913577" indent="0">
              <a:buFontTx/>
              <a:buNone/>
              <a:defRPr/>
            </a:lvl3pPr>
            <a:lvl4pPr marL="1370366" indent="0">
              <a:buFontTx/>
              <a:buNone/>
              <a:defRPr/>
            </a:lvl4pPr>
            <a:lvl5pPr marL="1827154" indent="0">
              <a:buFontTx/>
              <a:buNone/>
              <a:defRPr/>
            </a:lvl5pPr>
          </a:lstStyle>
          <a:p>
            <a:pPr lvl="0"/>
            <a:r>
              <a:rPr lang="de-DE" err="1"/>
              <a:t>Author</a:t>
            </a:r>
            <a:r>
              <a:rPr lang="de-DE"/>
              <a:t>, Date</a:t>
            </a:r>
            <a:endParaRPr lang="de-CH"/>
          </a:p>
        </p:txBody>
      </p:sp>
      <p:sp>
        <p:nvSpPr>
          <p:cNvPr id="8" name="Untertitel 2">
            <a:extLst>
              <a:ext uri="{FF2B5EF4-FFF2-40B4-BE49-F238E27FC236}">
                <a16:creationId xmlns:a16="http://schemas.microsoft.com/office/drawing/2014/main" id="{9D00D0B2-B5D5-4200-A68A-383DEA6E4350}"/>
              </a:ext>
            </a:extLst>
          </p:cNvPr>
          <p:cNvSpPr>
            <a:spLocks noGrp="1"/>
          </p:cNvSpPr>
          <p:nvPr>
            <p:ph type="subTitle" idx="1" hasCustomPrompt="1"/>
            <p:custDataLst>
              <p:tags r:id="rId3"/>
            </p:custDataLst>
          </p:nvPr>
        </p:nvSpPr>
        <p:spPr>
          <a:xfrm>
            <a:off x="1475658" y="2307729"/>
            <a:ext cx="5670053" cy="685810"/>
          </a:xfrm>
          <a:prstGeom prst="rect">
            <a:avLst/>
          </a:prstGeom>
        </p:spPr>
        <p:txBody>
          <a:bodyPr lIns="0" tIns="0" rIns="0" bIns="0">
            <a:normAutofit/>
          </a:bodyPr>
          <a:lstStyle>
            <a:lvl1pPr marL="0" indent="0" algn="l">
              <a:buNone/>
              <a:defRPr sz="1798">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GB" noProof="0"/>
              <a:t>Need a subtitle? Add it here.</a:t>
            </a:r>
          </a:p>
        </p:txBody>
      </p:sp>
      <p:pic>
        <p:nvPicPr>
          <p:cNvPr id="9" name="Graphic 8">
            <a:extLst>
              <a:ext uri="{FF2B5EF4-FFF2-40B4-BE49-F238E27FC236}">
                <a16:creationId xmlns:a16="http://schemas.microsoft.com/office/drawing/2014/main" id="{A18D81BC-B392-4E69-9A8F-308F7B1656FC}"/>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431800" y="407748"/>
            <a:ext cx="1043856" cy="347720"/>
          </a:xfrm>
          <a:prstGeom prst="rect">
            <a:avLst/>
          </a:prstGeom>
        </p:spPr>
      </p:pic>
      <p:sp>
        <p:nvSpPr>
          <p:cNvPr id="2" name="Title 1"/>
          <p:cNvSpPr>
            <a:spLocks noGrp="1"/>
          </p:cNvSpPr>
          <p:nvPr>
            <p:ph type="title" hasCustomPrompt="1"/>
          </p:nvPr>
        </p:nvSpPr>
        <p:spPr>
          <a:xfrm>
            <a:off x="1475656" y="1667579"/>
            <a:ext cx="5670055" cy="640150"/>
          </a:xfrm>
        </p:spPr>
        <p:txBody>
          <a:bodyPr/>
          <a:lstStyle>
            <a:lvl1pPr marL="0" algn="l" defTabSz="456789" rtl="0" eaLnBrk="1" latinLnBrk="0" hangingPunct="1">
              <a:spcBef>
                <a:spcPct val="0"/>
              </a:spcBef>
              <a:buNone/>
              <a:defRPr lang="en-US" sz="4000" b="1" kern="1200" dirty="0">
                <a:solidFill>
                  <a:schemeClr val="bg1"/>
                </a:solidFill>
                <a:latin typeface="Noto Serif" panose="020B0502040504020204" pitchFamily="34" charset="0"/>
                <a:ea typeface="Noto Sans" panose="020B0502040504020204" pitchFamily="34"/>
                <a:cs typeface="Noto Sans" panose="020B0502040504020204" pitchFamily="34"/>
              </a:defRPr>
            </a:lvl1pPr>
          </a:lstStyle>
          <a:p>
            <a:r>
              <a:rPr lang="en-GB" sz="4000" b="1">
                <a:latin typeface="Noto Serif" panose="020B0502040504020204" pitchFamily="34" charset="0"/>
              </a:rPr>
              <a:t>Add a title here</a:t>
            </a:r>
            <a:endParaRPr lang="en-US" sz="4000" b="1">
              <a:latin typeface="Noto Serif" panose="020B0502040504020204" pitchFamily="34" charset="0"/>
            </a:endParaRPr>
          </a:p>
        </p:txBody>
      </p:sp>
    </p:spTree>
    <p:extLst>
      <p:ext uri="{BB962C8B-B14F-4D97-AF65-F5344CB8AC3E}">
        <p14:creationId xmlns:p14="http://schemas.microsoft.com/office/powerpoint/2010/main" val="361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descr="A view of a city at night&#10;&#10;Description automatically generated">
            <a:extLst>
              <a:ext uri="{FF2B5EF4-FFF2-40B4-BE49-F238E27FC236}">
                <a16:creationId xmlns:a16="http://schemas.microsoft.com/office/drawing/2014/main" id="{454195BE-875C-F7A3-69AA-04F34DA6B04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2863781" cy="5148263"/>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5" name="Graphic 4">
            <a:extLst>
              <a:ext uri="{FF2B5EF4-FFF2-40B4-BE49-F238E27FC236}">
                <a16:creationId xmlns:a16="http://schemas.microsoft.com/office/drawing/2014/main" id="{81477C3D-43B2-ED78-9B9F-F32BD6954B4B}"/>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885" y="290121"/>
            <a:ext cx="642141" cy="213904"/>
          </a:xfrm>
          <a:prstGeom prst="rect">
            <a:avLst/>
          </a:prstGeom>
        </p:spPr>
      </p:pic>
      <p:sp>
        <p:nvSpPr>
          <p:cNvPr id="7" name="TextBox 6">
            <a:extLst>
              <a:ext uri="{FF2B5EF4-FFF2-40B4-BE49-F238E27FC236}">
                <a16:creationId xmlns:a16="http://schemas.microsoft.com/office/drawing/2014/main" id="{6E86318C-34C0-4251-AE19-8CE34B896C34}"/>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328582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6" name="Picture 5" descr="A picture containing ocean floor&#10;&#10;Description automatically generated">
            <a:extLst>
              <a:ext uri="{FF2B5EF4-FFF2-40B4-BE49-F238E27FC236}">
                <a16:creationId xmlns:a16="http://schemas.microsoft.com/office/drawing/2014/main" id="{E5E44CCF-2489-423E-9648-BB50DC6155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9144000" cy="2574131"/>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E9190092-17A2-6289-A132-426D2EBF1B9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12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9E5DAD-26C6-918A-0777-46D40FAF99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9144000" cy="2574130"/>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E9190092-17A2-6289-A132-426D2EBF1B9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75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FC3555-5920-45A1-BFF9-BFA0671D002A}"/>
              </a:ext>
            </a:extLst>
          </p:cNvPr>
          <p:cNvGraphicFramePr>
            <a:graphicFrameLocks noChangeAspect="1"/>
          </p:cNvGraphicFramePr>
          <p:nvPr userDrawn="1">
            <p:custDataLst>
              <p:tags r:id="rId1"/>
            </p:custDataLst>
            <p:extLst>
              <p:ext uri="{D42A27DB-BD31-4B8C-83A1-F6EECF244321}">
                <p14:modId xmlns:p14="http://schemas.microsoft.com/office/powerpoint/2010/main" val="4056940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EEFC3555-5920-45A1-BFF9-BFA0671D0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E375AAF7-B345-4760-A83F-1174AAAD9BB7}"/>
              </a:ext>
            </a:extLst>
          </p:cNvPr>
          <p:cNvSpPr txBox="1"/>
          <p:nvPr userDrawn="1"/>
        </p:nvSpPr>
        <p:spPr>
          <a:xfrm>
            <a:off x="431540" y="1055688"/>
            <a:ext cx="6883660" cy="3344374"/>
          </a:xfrm>
          <a:prstGeom prst="rect">
            <a:avLst/>
          </a:prstGeom>
          <a:noFill/>
        </p:spPr>
        <p:txBody>
          <a:bodyPr wrap="square" lIns="0" tIns="0" rIns="0" bIns="0" rtlCol="0">
            <a:noAutofit/>
          </a:bodyPr>
          <a:lstStyle/>
          <a:p>
            <a:pPr marL="0" indent="0" algn="l">
              <a:lnSpc>
                <a:spcPct val="114000"/>
              </a:lnSpc>
              <a:spcBef>
                <a:spcPts val="240"/>
              </a:spcBef>
              <a:spcAft>
                <a:spcPts val="1200"/>
              </a:spcAft>
              <a:buNone/>
            </a:pPr>
            <a:r>
              <a:rPr lang="en-US" sz="850" dirty="0">
                <a:solidFill>
                  <a:srgbClr val="4E4E4E"/>
                </a:solidFill>
              </a:rPr>
              <a:t>This material has been prepared by SIX Group Ltd, its subsidiaries, affiliates and/or their branches (together, “SIX”) for the exclusive </a:t>
            </a:r>
            <a:br>
              <a:rPr lang="en-US" sz="850" dirty="0">
                <a:solidFill>
                  <a:srgbClr val="4E4E4E"/>
                </a:solidFill>
              </a:rPr>
            </a:br>
            <a:r>
              <a:rPr lang="en-US" sz="850" dirty="0">
                <a:solidFill>
                  <a:srgbClr val="4E4E4E"/>
                </a:solidFill>
              </a:rPr>
              <a:t>use of the persons to whom SIX delivers this material. This material or any of its content is not to be construed as a binding agreement, recommendation, investment advice, solicitation, invitation or offer to buy or sell financial information, products, solutions or services. It is solely for information purposes and is subject to change without notice at any time. SIX is under no obligation to update, revise or keep current the content of this material. No representation, warranty, guarantee or undertaking – express or implied – is or will be given by SIX as to the accuracy, completeness, sufficiency, suitability or reliability of the content of this material. Neither SIX nor any </a:t>
            </a:r>
            <a:br>
              <a:rPr lang="en-US" sz="850" dirty="0">
                <a:solidFill>
                  <a:srgbClr val="4E4E4E"/>
                </a:solidFill>
              </a:rPr>
            </a:br>
            <a:r>
              <a:rPr lang="en-US" sz="850" dirty="0">
                <a:solidFill>
                  <a:srgbClr val="4E4E4E"/>
                </a:solidFill>
              </a:rPr>
              <a:t>of its directors, officers, employees, representatives or agents accept any liability for any loss, damage or injury arising out of or in relation to this material. This material is property of SIX and may not be printed, copied, reproduced, published, passed on, disclosed or distributed in any form without the express prior written consent of SIX. </a:t>
            </a:r>
          </a:p>
          <a:p>
            <a:pPr marL="0" indent="0" algn="l">
              <a:lnSpc>
                <a:spcPct val="114000"/>
              </a:lnSpc>
              <a:spcBef>
                <a:spcPts val="240"/>
              </a:spcBef>
              <a:spcAft>
                <a:spcPts val="1200"/>
              </a:spcAft>
              <a:buNone/>
            </a:pPr>
            <a:br>
              <a:rPr lang="en-US" sz="850" dirty="0">
                <a:solidFill>
                  <a:srgbClr val="4E4E4E"/>
                </a:solidFill>
              </a:rPr>
            </a:br>
            <a:r>
              <a:rPr lang="en-US" sz="850" dirty="0">
                <a:solidFill>
                  <a:srgbClr val="4E4E4E"/>
                </a:solidFill>
              </a:rPr>
              <a:t>© 2023 SIX Group Ltd. All rights reserved.</a:t>
            </a:r>
          </a:p>
        </p:txBody>
      </p:sp>
      <p:sp>
        <p:nvSpPr>
          <p:cNvPr id="8" name="TextBox 7">
            <a:extLst>
              <a:ext uri="{FF2B5EF4-FFF2-40B4-BE49-F238E27FC236}">
                <a16:creationId xmlns:a16="http://schemas.microsoft.com/office/drawing/2014/main" id="{E8F7BBB1-5FE6-4748-82F0-9E8B899B3934}"/>
              </a:ext>
            </a:extLst>
          </p:cNvPr>
          <p:cNvSpPr txBox="1"/>
          <p:nvPr userDrawn="1"/>
        </p:nvSpPr>
        <p:spPr>
          <a:xfrm>
            <a:off x="431541" y="336550"/>
            <a:ext cx="6664828" cy="647700"/>
          </a:xfrm>
          <a:prstGeom prst="rect">
            <a:avLst/>
          </a:prstGeom>
          <a:noFill/>
        </p:spPr>
        <p:txBody>
          <a:bodyPr wrap="square" lIns="0" tIns="0" rIns="0" bIns="0" rtlCol="0">
            <a:noAutofit/>
          </a:bodyPr>
          <a:lstStyle/>
          <a:p>
            <a:pPr algn="l"/>
            <a:r>
              <a:rPr lang="en-US" sz="1800" b="1" dirty="0">
                <a:solidFill>
                  <a:srgbClr val="4E4E4E"/>
                </a:solidFill>
              </a:rPr>
              <a:t>Disclaimer</a:t>
            </a:r>
            <a:endParaRPr lang="en-US" sz="1800" b="1" dirty="0">
              <a:solidFill>
                <a:srgbClr val="4E4E4E"/>
              </a:solidFill>
              <a:latin typeface="Noto Sans" panose="020B0502040504020204" pitchFamily="34" charset="0"/>
            </a:endParaRPr>
          </a:p>
        </p:txBody>
      </p:sp>
      <p:pic>
        <p:nvPicPr>
          <p:cNvPr id="10" name="Picture 2" descr="\\cooper\Projects\SIX Group - officeatwork\Projects\PowerPoint\2015\Desktriptoren\SIX Innen.png">
            <a:extLst>
              <a:ext uri="{FF2B5EF4-FFF2-40B4-BE49-F238E27FC236}">
                <a16:creationId xmlns:a16="http://schemas.microsoft.com/office/drawing/2014/main" id="{E53406B6-0BCA-4C7B-ADD4-C4AE8BB2324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87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935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205EEF-00F1-AEDF-4D20-0AF55A564FB1}"/>
              </a:ext>
            </a:extLst>
          </p:cNvPr>
          <p:cNvSpPr/>
          <p:nvPr userDrawn="1"/>
        </p:nvSpPr>
        <p:spPr>
          <a:xfrm>
            <a:off x="0" y="5148263"/>
            <a:ext cx="9144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US" err="1"/>
          </a:p>
        </p:txBody>
      </p:sp>
      <p:sp>
        <p:nvSpPr>
          <p:cNvPr id="4" name="Title 1">
            <a:extLst>
              <a:ext uri="{FF2B5EF4-FFF2-40B4-BE49-F238E27FC236}">
                <a16:creationId xmlns:a16="http://schemas.microsoft.com/office/drawing/2014/main" id="{DC6CFC91-F773-0F82-25F8-C9FDB9985F52}"/>
              </a:ext>
            </a:extLst>
          </p:cNvPr>
          <p:cNvSpPr>
            <a:spLocks noGrp="1"/>
          </p:cNvSpPr>
          <p:nvPr>
            <p:ph type="title" hasCustomPrompt="1"/>
          </p:nvPr>
        </p:nvSpPr>
        <p:spPr>
          <a:xfrm>
            <a:off x="1705047" y="232926"/>
            <a:ext cx="7043418" cy="640150"/>
          </a:xfrm>
        </p:spPr>
        <p:txBody>
          <a:bodyPr/>
          <a:lstStyle>
            <a:lvl1pPr>
              <a:defRPr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TextBox 58">
            <a:extLst>
              <a:ext uri="{FF2B5EF4-FFF2-40B4-BE49-F238E27FC236}">
                <a16:creationId xmlns:a16="http://schemas.microsoft.com/office/drawing/2014/main" id="{52487E76-C66A-1150-C76E-29401D68C297}"/>
              </a:ext>
            </a:extLst>
          </p:cNvPr>
          <p:cNvSpPr txBox="1"/>
          <p:nvPr userDrawn="1"/>
        </p:nvSpPr>
        <p:spPr bwMode="gray">
          <a:xfrm>
            <a:off x="2697963" y="1757187"/>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Benefits</a:t>
            </a:r>
          </a:p>
        </p:txBody>
      </p:sp>
      <p:cxnSp>
        <p:nvCxnSpPr>
          <p:cNvPr id="10" name="Straight Connector 5">
            <a:extLst>
              <a:ext uri="{FF2B5EF4-FFF2-40B4-BE49-F238E27FC236}">
                <a16:creationId xmlns:a16="http://schemas.microsoft.com/office/drawing/2014/main" id="{36FC07A4-68F1-8386-7565-12FB787F67A1}"/>
              </a:ext>
            </a:extLst>
          </p:cNvPr>
          <p:cNvCxnSpPr>
            <a:cxnSpLocks/>
          </p:cNvCxnSpPr>
          <p:nvPr userDrawn="1"/>
        </p:nvCxnSpPr>
        <p:spPr bwMode="gray">
          <a:xfrm>
            <a:off x="427745" y="125039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59">
            <a:extLst>
              <a:ext uri="{FF2B5EF4-FFF2-40B4-BE49-F238E27FC236}">
                <a16:creationId xmlns:a16="http://schemas.microsoft.com/office/drawing/2014/main" id="{C3BCCB25-14BF-7A21-B592-D17D296E2E2B}"/>
              </a:ext>
            </a:extLst>
          </p:cNvPr>
          <p:cNvSpPr txBox="1"/>
          <p:nvPr userDrawn="1"/>
        </p:nvSpPr>
        <p:spPr bwMode="gray">
          <a:xfrm>
            <a:off x="4804290" y="1770301"/>
            <a:ext cx="938108" cy="369332"/>
          </a:xfrm>
          <a:prstGeom prst="rect">
            <a:avLst/>
          </a:prstGeom>
          <a:noFill/>
        </p:spPr>
        <p:txBody>
          <a:bodyPr wrap="square" lIns="0" tIns="0" rIns="0" bIns="0" rtlCol="0">
            <a:spAutoFit/>
          </a:bodyPr>
          <a:lstStyle/>
          <a:p>
            <a:r>
              <a:rPr lang="en-US" sz="1200" b="1">
                <a:solidFill>
                  <a:schemeClr val="accent2"/>
                </a:solidFill>
                <a:latin typeface="Noto Sans" panose="020B0502040504020204" pitchFamily="34" charset="0"/>
              </a:rPr>
              <a:t>Use Cases &amp; Delivery</a:t>
            </a:r>
          </a:p>
        </p:txBody>
      </p:sp>
      <p:sp>
        <p:nvSpPr>
          <p:cNvPr id="12" name="TextBox 37">
            <a:extLst>
              <a:ext uri="{FF2B5EF4-FFF2-40B4-BE49-F238E27FC236}">
                <a16:creationId xmlns:a16="http://schemas.microsoft.com/office/drawing/2014/main" id="{3472CE58-1193-7D47-6EBB-970E5F34BA04}"/>
              </a:ext>
            </a:extLst>
          </p:cNvPr>
          <p:cNvSpPr txBox="1"/>
          <p:nvPr userDrawn="1"/>
        </p:nvSpPr>
        <p:spPr bwMode="gray">
          <a:xfrm>
            <a:off x="666820" y="1770301"/>
            <a:ext cx="938108" cy="369332"/>
          </a:xfrm>
          <a:prstGeom prst="rect">
            <a:avLst/>
          </a:prstGeom>
          <a:noFill/>
        </p:spPr>
        <p:txBody>
          <a:bodyPr wrap="square" lIns="0" tIns="0" rIns="0" bIns="0" rtlCol="0">
            <a:spAutoFit/>
          </a:bodyPr>
          <a:lstStyle/>
          <a:p>
            <a:r>
              <a:rPr lang="en-US" sz="1200" b="1">
                <a:solidFill>
                  <a:schemeClr val="accent2"/>
                </a:solidFill>
                <a:latin typeface="Noto Sans" panose="020B0502040504020204" pitchFamily="34" charset="0"/>
              </a:rPr>
              <a:t>Key Features</a:t>
            </a:r>
          </a:p>
        </p:txBody>
      </p:sp>
      <p:cxnSp>
        <p:nvCxnSpPr>
          <p:cNvPr id="13" name="Straight Connector 5">
            <a:extLst>
              <a:ext uri="{FF2B5EF4-FFF2-40B4-BE49-F238E27FC236}">
                <a16:creationId xmlns:a16="http://schemas.microsoft.com/office/drawing/2014/main" id="{ADC95DF9-ACD0-A396-2F8D-57D6DC4297C8}"/>
              </a:ext>
            </a:extLst>
          </p:cNvPr>
          <p:cNvCxnSpPr>
            <a:cxnSpLocks/>
          </p:cNvCxnSpPr>
          <p:nvPr userDrawn="1"/>
        </p:nvCxnSpPr>
        <p:spPr bwMode="gray">
          <a:xfrm>
            <a:off x="2535551"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
            <a:extLst>
              <a:ext uri="{FF2B5EF4-FFF2-40B4-BE49-F238E27FC236}">
                <a16:creationId xmlns:a16="http://schemas.microsoft.com/office/drawing/2014/main" id="{073939AC-4559-9EB2-7383-8A7BCA414710}"/>
              </a:ext>
            </a:extLst>
          </p:cNvPr>
          <p:cNvCxnSpPr>
            <a:cxnSpLocks/>
          </p:cNvCxnSpPr>
          <p:nvPr userDrawn="1"/>
        </p:nvCxnSpPr>
        <p:spPr bwMode="gray">
          <a:xfrm>
            <a:off x="4645152"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5" name="TextBox 59">
            <a:extLst>
              <a:ext uri="{FF2B5EF4-FFF2-40B4-BE49-F238E27FC236}">
                <a16:creationId xmlns:a16="http://schemas.microsoft.com/office/drawing/2014/main" id="{5A8310C2-B0B2-8EEC-B8F4-50C76A2BA8B3}"/>
              </a:ext>
            </a:extLst>
          </p:cNvPr>
          <p:cNvSpPr txBox="1"/>
          <p:nvPr userDrawn="1"/>
        </p:nvSpPr>
        <p:spPr bwMode="gray">
          <a:xfrm>
            <a:off x="6878478" y="1756480"/>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Specifics</a:t>
            </a:r>
          </a:p>
        </p:txBody>
      </p:sp>
      <p:cxnSp>
        <p:nvCxnSpPr>
          <p:cNvPr id="16" name="Straight Connector 5">
            <a:extLst>
              <a:ext uri="{FF2B5EF4-FFF2-40B4-BE49-F238E27FC236}">
                <a16:creationId xmlns:a16="http://schemas.microsoft.com/office/drawing/2014/main" id="{7E53B95D-23FC-96B2-ED6A-57CA8BF4C535}"/>
              </a:ext>
            </a:extLst>
          </p:cNvPr>
          <p:cNvCxnSpPr>
            <a:cxnSpLocks/>
          </p:cNvCxnSpPr>
          <p:nvPr userDrawn="1"/>
        </p:nvCxnSpPr>
        <p:spPr bwMode="gray">
          <a:xfrm>
            <a:off x="6712465" y="124487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Freeform 35">
            <a:extLst>
              <a:ext uri="{FF2B5EF4-FFF2-40B4-BE49-F238E27FC236}">
                <a16:creationId xmlns:a16="http://schemas.microsoft.com/office/drawing/2014/main" id="{4771F8EB-6DD7-0E89-6686-7E054AA7A82E}"/>
              </a:ext>
            </a:extLst>
          </p:cNvPr>
          <p:cNvSpPr>
            <a:spLocks noEditPoints="1"/>
          </p:cNvSpPr>
          <p:nvPr userDrawn="1"/>
        </p:nvSpPr>
        <p:spPr bwMode="gray">
          <a:xfrm>
            <a:off x="698100" y="1308104"/>
            <a:ext cx="365394" cy="364737"/>
          </a:xfrm>
          <a:custGeom>
            <a:avLst/>
            <a:gdLst>
              <a:gd name="T0" fmla="*/ 85 w 709"/>
              <a:gd name="T1" fmla="*/ 680 h 708"/>
              <a:gd name="T2" fmla="*/ 131 w 709"/>
              <a:gd name="T3" fmla="*/ 582 h 708"/>
              <a:gd name="T4" fmla="*/ 273 w 709"/>
              <a:gd name="T5" fmla="*/ 463 h 708"/>
              <a:gd name="T6" fmla="*/ 354 w 709"/>
              <a:gd name="T7" fmla="*/ 482 h 708"/>
              <a:gd name="T8" fmla="*/ 435 w 709"/>
              <a:gd name="T9" fmla="*/ 463 h 708"/>
              <a:gd name="T10" fmla="*/ 578 w 709"/>
              <a:gd name="T11" fmla="*/ 582 h 708"/>
              <a:gd name="T12" fmla="*/ 624 w 709"/>
              <a:gd name="T13" fmla="*/ 680 h 708"/>
              <a:gd name="T14" fmla="*/ 624 w 709"/>
              <a:gd name="T15" fmla="*/ 708 h 708"/>
              <a:gd name="T16" fmla="*/ 709 w 709"/>
              <a:gd name="T17" fmla="*/ 708 h 708"/>
              <a:gd name="T18" fmla="*/ 709 w 709"/>
              <a:gd name="T19" fmla="*/ 680 h 708"/>
              <a:gd name="T20" fmla="*/ 708 w 709"/>
              <a:gd name="T21" fmla="*/ 656 h 708"/>
              <a:gd name="T22" fmla="*/ 633 w 709"/>
              <a:gd name="T23" fmla="*/ 517 h 708"/>
              <a:gd name="T24" fmla="*/ 633 w 709"/>
              <a:gd name="T25" fmla="*/ 517 h 708"/>
              <a:gd name="T26" fmla="*/ 633 w 709"/>
              <a:gd name="T27" fmla="*/ 517 h 708"/>
              <a:gd name="T28" fmla="*/ 502 w 709"/>
              <a:gd name="T29" fmla="*/ 408 h 708"/>
              <a:gd name="T30" fmla="*/ 539 w 709"/>
              <a:gd name="T31" fmla="*/ 297 h 708"/>
              <a:gd name="T32" fmla="*/ 539 w 709"/>
              <a:gd name="T33" fmla="*/ 184 h 708"/>
              <a:gd name="T34" fmla="*/ 354 w 709"/>
              <a:gd name="T35" fmla="*/ 0 h 708"/>
              <a:gd name="T36" fmla="*/ 170 w 709"/>
              <a:gd name="T37" fmla="*/ 184 h 708"/>
              <a:gd name="T38" fmla="*/ 170 w 709"/>
              <a:gd name="T39" fmla="*/ 297 h 708"/>
              <a:gd name="T40" fmla="*/ 207 w 709"/>
              <a:gd name="T41" fmla="*/ 408 h 708"/>
              <a:gd name="T42" fmla="*/ 76 w 709"/>
              <a:gd name="T43" fmla="*/ 517 h 708"/>
              <a:gd name="T44" fmla="*/ 0 w 709"/>
              <a:gd name="T45" fmla="*/ 680 h 708"/>
              <a:gd name="T46" fmla="*/ 0 w 709"/>
              <a:gd name="T47" fmla="*/ 708 h 708"/>
              <a:gd name="T48" fmla="*/ 85 w 709"/>
              <a:gd name="T49" fmla="*/ 708 h 708"/>
              <a:gd name="T50" fmla="*/ 85 w 709"/>
              <a:gd name="T51" fmla="*/ 680 h 708"/>
              <a:gd name="T52" fmla="*/ 255 w 709"/>
              <a:gd name="T53" fmla="*/ 184 h 708"/>
              <a:gd name="T54" fmla="*/ 354 w 709"/>
              <a:gd name="T55" fmla="*/ 85 h 708"/>
              <a:gd name="T56" fmla="*/ 454 w 709"/>
              <a:gd name="T57" fmla="*/ 184 h 708"/>
              <a:gd name="T58" fmla="*/ 454 w 709"/>
              <a:gd name="T59" fmla="*/ 297 h 708"/>
              <a:gd name="T60" fmla="*/ 354 w 709"/>
              <a:gd name="T61" fmla="*/ 396 h 708"/>
              <a:gd name="T62" fmla="*/ 354 w 709"/>
              <a:gd name="T63" fmla="*/ 396 h 708"/>
              <a:gd name="T64" fmla="*/ 255 w 709"/>
              <a:gd name="T65" fmla="*/ 297 h 708"/>
              <a:gd name="T66" fmla="*/ 255 w 709"/>
              <a:gd name="T67" fmla="*/ 18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9" h="708">
                <a:moveTo>
                  <a:pt x="85" y="680"/>
                </a:moveTo>
                <a:cubicBezTo>
                  <a:pt x="85" y="642"/>
                  <a:pt x="102" y="606"/>
                  <a:pt x="131" y="582"/>
                </a:cubicBezTo>
                <a:cubicBezTo>
                  <a:pt x="273" y="463"/>
                  <a:pt x="273" y="463"/>
                  <a:pt x="273" y="463"/>
                </a:cubicBezTo>
                <a:cubicBezTo>
                  <a:pt x="298" y="475"/>
                  <a:pt x="325" y="482"/>
                  <a:pt x="354" y="482"/>
                </a:cubicBezTo>
                <a:cubicBezTo>
                  <a:pt x="384" y="482"/>
                  <a:pt x="411" y="475"/>
                  <a:pt x="435" y="463"/>
                </a:cubicBezTo>
                <a:cubicBezTo>
                  <a:pt x="578" y="582"/>
                  <a:pt x="578" y="582"/>
                  <a:pt x="578" y="582"/>
                </a:cubicBezTo>
                <a:cubicBezTo>
                  <a:pt x="607" y="606"/>
                  <a:pt x="624" y="642"/>
                  <a:pt x="624" y="680"/>
                </a:cubicBezTo>
                <a:cubicBezTo>
                  <a:pt x="624" y="708"/>
                  <a:pt x="624" y="708"/>
                  <a:pt x="624" y="708"/>
                </a:cubicBezTo>
                <a:cubicBezTo>
                  <a:pt x="709" y="708"/>
                  <a:pt x="709" y="708"/>
                  <a:pt x="709" y="708"/>
                </a:cubicBezTo>
                <a:cubicBezTo>
                  <a:pt x="709" y="680"/>
                  <a:pt x="709" y="680"/>
                  <a:pt x="709" y="680"/>
                </a:cubicBezTo>
                <a:cubicBezTo>
                  <a:pt x="709" y="672"/>
                  <a:pt x="708" y="664"/>
                  <a:pt x="708" y="656"/>
                </a:cubicBezTo>
                <a:cubicBezTo>
                  <a:pt x="702" y="602"/>
                  <a:pt x="675" y="552"/>
                  <a:pt x="633" y="517"/>
                </a:cubicBezTo>
                <a:cubicBezTo>
                  <a:pt x="633" y="517"/>
                  <a:pt x="633" y="517"/>
                  <a:pt x="633" y="517"/>
                </a:cubicBezTo>
                <a:cubicBezTo>
                  <a:pt x="633" y="517"/>
                  <a:pt x="633" y="517"/>
                  <a:pt x="633" y="517"/>
                </a:cubicBezTo>
                <a:cubicBezTo>
                  <a:pt x="502" y="408"/>
                  <a:pt x="502" y="408"/>
                  <a:pt x="502" y="408"/>
                </a:cubicBezTo>
                <a:cubicBezTo>
                  <a:pt x="525" y="377"/>
                  <a:pt x="539" y="339"/>
                  <a:pt x="539" y="297"/>
                </a:cubicBezTo>
                <a:cubicBezTo>
                  <a:pt x="539" y="184"/>
                  <a:pt x="539" y="184"/>
                  <a:pt x="539" y="184"/>
                </a:cubicBezTo>
                <a:cubicBezTo>
                  <a:pt x="539" y="82"/>
                  <a:pt x="456" y="0"/>
                  <a:pt x="354" y="0"/>
                </a:cubicBezTo>
                <a:cubicBezTo>
                  <a:pt x="253" y="0"/>
                  <a:pt x="170" y="82"/>
                  <a:pt x="170" y="184"/>
                </a:cubicBezTo>
                <a:cubicBezTo>
                  <a:pt x="170" y="297"/>
                  <a:pt x="170" y="297"/>
                  <a:pt x="170" y="297"/>
                </a:cubicBezTo>
                <a:cubicBezTo>
                  <a:pt x="170" y="339"/>
                  <a:pt x="184" y="377"/>
                  <a:pt x="207" y="408"/>
                </a:cubicBezTo>
                <a:cubicBezTo>
                  <a:pt x="76" y="517"/>
                  <a:pt x="76" y="517"/>
                  <a:pt x="76" y="517"/>
                </a:cubicBezTo>
                <a:cubicBezTo>
                  <a:pt x="28" y="557"/>
                  <a:pt x="0" y="617"/>
                  <a:pt x="0" y="680"/>
                </a:cubicBezTo>
                <a:cubicBezTo>
                  <a:pt x="0" y="708"/>
                  <a:pt x="0" y="708"/>
                  <a:pt x="0" y="708"/>
                </a:cubicBezTo>
                <a:cubicBezTo>
                  <a:pt x="85" y="708"/>
                  <a:pt x="85" y="708"/>
                  <a:pt x="85" y="708"/>
                </a:cubicBezTo>
                <a:lnTo>
                  <a:pt x="85" y="680"/>
                </a:lnTo>
                <a:close/>
                <a:moveTo>
                  <a:pt x="255" y="184"/>
                </a:moveTo>
                <a:cubicBezTo>
                  <a:pt x="255" y="129"/>
                  <a:pt x="300" y="85"/>
                  <a:pt x="354" y="85"/>
                </a:cubicBezTo>
                <a:cubicBezTo>
                  <a:pt x="409" y="85"/>
                  <a:pt x="454" y="129"/>
                  <a:pt x="454" y="184"/>
                </a:cubicBezTo>
                <a:cubicBezTo>
                  <a:pt x="454" y="297"/>
                  <a:pt x="454" y="297"/>
                  <a:pt x="454" y="297"/>
                </a:cubicBezTo>
                <a:cubicBezTo>
                  <a:pt x="454" y="352"/>
                  <a:pt x="409" y="396"/>
                  <a:pt x="354" y="396"/>
                </a:cubicBezTo>
                <a:cubicBezTo>
                  <a:pt x="354" y="396"/>
                  <a:pt x="354" y="396"/>
                  <a:pt x="354" y="396"/>
                </a:cubicBezTo>
                <a:cubicBezTo>
                  <a:pt x="300" y="396"/>
                  <a:pt x="255" y="352"/>
                  <a:pt x="255" y="297"/>
                </a:cubicBezTo>
                <a:lnTo>
                  <a:pt x="255" y="1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8" name="Graphic 17">
            <a:extLst>
              <a:ext uri="{FF2B5EF4-FFF2-40B4-BE49-F238E27FC236}">
                <a16:creationId xmlns:a16="http://schemas.microsoft.com/office/drawing/2014/main" id="{05035BEE-E88B-4720-C404-E72425EF29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7160" y="1214411"/>
            <a:ext cx="661767" cy="661767"/>
          </a:xfrm>
          <a:prstGeom prst="rect">
            <a:avLst/>
          </a:prstGeom>
        </p:spPr>
      </p:pic>
      <p:pic>
        <p:nvPicPr>
          <p:cNvPr id="19" name="Grafik 19">
            <a:extLst>
              <a:ext uri="{FF2B5EF4-FFF2-40B4-BE49-F238E27FC236}">
                <a16:creationId xmlns:a16="http://schemas.microsoft.com/office/drawing/2014/main" id="{08D88792-E705-600E-9CDF-D1CBA4CEC1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41447" y="1335307"/>
            <a:ext cx="306999" cy="392959"/>
          </a:xfrm>
          <a:prstGeom prst="rect">
            <a:avLst/>
          </a:prstGeom>
        </p:spPr>
      </p:pic>
      <p:grpSp>
        <p:nvGrpSpPr>
          <p:cNvPr id="20" name="Group 218">
            <a:extLst>
              <a:ext uri="{FF2B5EF4-FFF2-40B4-BE49-F238E27FC236}">
                <a16:creationId xmlns:a16="http://schemas.microsoft.com/office/drawing/2014/main" id="{17351F4B-1C8E-2408-013A-510D42FF629C}"/>
              </a:ext>
            </a:extLst>
          </p:cNvPr>
          <p:cNvGrpSpPr>
            <a:grpSpLocks noChangeAspect="1"/>
          </p:cNvGrpSpPr>
          <p:nvPr userDrawn="1"/>
        </p:nvGrpSpPr>
        <p:grpSpPr bwMode="gray">
          <a:xfrm>
            <a:off x="2651555" y="1285484"/>
            <a:ext cx="346047" cy="495730"/>
            <a:chOff x="1623" y="-162"/>
            <a:chExt cx="2513" cy="3600"/>
          </a:xfrm>
          <a:solidFill>
            <a:schemeClr val="accent2"/>
          </a:solidFill>
        </p:grpSpPr>
        <p:sp>
          <p:nvSpPr>
            <p:cNvPr id="21" name="Freeform 220">
              <a:extLst>
                <a:ext uri="{FF2B5EF4-FFF2-40B4-BE49-F238E27FC236}">
                  <a16:creationId xmlns:a16="http://schemas.microsoft.com/office/drawing/2014/main" id="{51E310BC-418E-FE4F-693C-CB82CA4F9A9E}"/>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a:extLst>
                <a:ext uri="{FF2B5EF4-FFF2-40B4-BE49-F238E27FC236}">
                  <a16:creationId xmlns:a16="http://schemas.microsoft.com/office/drawing/2014/main" id="{9FCE522F-FCC9-438B-F080-6219B7D74E5D}"/>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a:extLst>
                <a:ext uri="{FF2B5EF4-FFF2-40B4-BE49-F238E27FC236}">
                  <a16:creationId xmlns:a16="http://schemas.microsoft.com/office/drawing/2014/main" id="{65BFE180-6BC4-91DF-A5FD-1E45A7197AC4}"/>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a:extLst>
                <a:ext uri="{FF2B5EF4-FFF2-40B4-BE49-F238E27FC236}">
                  <a16:creationId xmlns:a16="http://schemas.microsoft.com/office/drawing/2014/main" id="{298081EE-42B2-6FC3-30B8-8E04A661D03F}"/>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4">
              <a:extLst>
                <a:ext uri="{FF2B5EF4-FFF2-40B4-BE49-F238E27FC236}">
                  <a16:creationId xmlns:a16="http://schemas.microsoft.com/office/drawing/2014/main" id="{0FB80BDE-6FC3-4E42-A900-8698390F0365}"/>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3625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205EEF-00F1-AEDF-4D20-0AF55A564FB1}"/>
              </a:ext>
            </a:extLst>
          </p:cNvPr>
          <p:cNvSpPr/>
          <p:nvPr userDrawn="1"/>
        </p:nvSpPr>
        <p:spPr>
          <a:xfrm>
            <a:off x="0" y="5148263"/>
            <a:ext cx="9144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US" err="1"/>
          </a:p>
        </p:txBody>
      </p:sp>
      <p:sp>
        <p:nvSpPr>
          <p:cNvPr id="4" name="Title 1">
            <a:extLst>
              <a:ext uri="{FF2B5EF4-FFF2-40B4-BE49-F238E27FC236}">
                <a16:creationId xmlns:a16="http://schemas.microsoft.com/office/drawing/2014/main" id="{DC6CFC91-F773-0F82-25F8-C9FDB9985F52}"/>
              </a:ext>
            </a:extLst>
          </p:cNvPr>
          <p:cNvSpPr>
            <a:spLocks noGrp="1"/>
          </p:cNvSpPr>
          <p:nvPr>
            <p:ph type="title" hasCustomPrompt="1"/>
          </p:nvPr>
        </p:nvSpPr>
        <p:spPr>
          <a:xfrm>
            <a:off x="1705047" y="232926"/>
            <a:ext cx="7043418" cy="640150"/>
          </a:xfrm>
        </p:spPr>
        <p:txBody>
          <a:bodyPr/>
          <a:lstStyle>
            <a:lvl1pPr>
              <a:defRPr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cxnSp>
        <p:nvCxnSpPr>
          <p:cNvPr id="10" name="Straight Connector 5">
            <a:extLst>
              <a:ext uri="{FF2B5EF4-FFF2-40B4-BE49-F238E27FC236}">
                <a16:creationId xmlns:a16="http://schemas.microsoft.com/office/drawing/2014/main" id="{36FC07A4-68F1-8386-7565-12FB787F67A1}"/>
              </a:ext>
            </a:extLst>
          </p:cNvPr>
          <p:cNvCxnSpPr>
            <a:cxnSpLocks/>
          </p:cNvCxnSpPr>
          <p:nvPr userDrawn="1"/>
        </p:nvCxnSpPr>
        <p:spPr bwMode="gray">
          <a:xfrm>
            <a:off x="427745" y="125039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5">
            <a:extLst>
              <a:ext uri="{FF2B5EF4-FFF2-40B4-BE49-F238E27FC236}">
                <a16:creationId xmlns:a16="http://schemas.microsoft.com/office/drawing/2014/main" id="{ADC95DF9-ACD0-A396-2F8D-57D6DC4297C8}"/>
              </a:ext>
            </a:extLst>
          </p:cNvPr>
          <p:cNvCxnSpPr>
            <a:cxnSpLocks/>
          </p:cNvCxnSpPr>
          <p:nvPr userDrawn="1"/>
        </p:nvCxnSpPr>
        <p:spPr bwMode="gray">
          <a:xfrm>
            <a:off x="2535551"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
            <a:extLst>
              <a:ext uri="{FF2B5EF4-FFF2-40B4-BE49-F238E27FC236}">
                <a16:creationId xmlns:a16="http://schemas.microsoft.com/office/drawing/2014/main" id="{073939AC-4559-9EB2-7383-8A7BCA414710}"/>
              </a:ext>
            </a:extLst>
          </p:cNvPr>
          <p:cNvCxnSpPr>
            <a:cxnSpLocks/>
          </p:cNvCxnSpPr>
          <p:nvPr userDrawn="1"/>
        </p:nvCxnSpPr>
        <p:spPr bwMode="gray">
          <a:xfrm>
            <a:off x="4645152"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5" name="TextBox 59">
            <a:extLst>
              <a:ext uri="{FF2B5EF4-FFF2-40B4-BE49-F238E27FC236}">
                <a16:creationId xmlns:a16="http://schemas.microsoft.com/office/drawing/2014/main" id="{5A8310C2-B0B2-8EEC-B8F4-50C76A2BA8B3}"/>
              </a:ext>
            </a:extLst>
          </p:cNvPr>
          <p:cNvSpPr txBox="1"/>
          <p:nvPr userDrawn="1"/>
        </p:nvSpPr>
        <p:spPr bwMode="gray">
          <a:xfrm>
            <a:off x="6878478" y="1756480"/>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Specifics</a:t>
            </a:r>
          </a:p>
        </p:txBody>
      </p:sp>
      <p:cxnSp>
        <p:nvCxnSpPr>
          <p:cNvPr id="16" name="Straight Connector 5">
            <a:extLst>
              <a:ext uri="{FF2B5EF4-FFF2-40B4-BE49-F238E27FC236}">
                <a16:creationId xmlns:a16="http://schemas.microsoft.com/office/drawing/2014/main" id="{7E53B95D-23FC-96B2-ED6A-57CA8BF4C535}"/>
              </a:ext>
            </a:extLst>
          </p:cNvPr>
          <p:cNvCxnSpPr>
            <a:cxnSpLocks/>
          </p:cNvCxnSpPr>
          <p:nvPr userDrawn="1"/>
        </p:nvCxnSpPr>
        <p:spPr bwMode="gray">
          <a:xfrm>
            <a:off x="6712465" y="124487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Freeform 35">
            <a:extLst>
              <a:ext uri="{FF2B5EF4-FFF2-40B4-BE49-F238E27FC236}">
                <a16:creationId xmlns:a16="http://schemas.microsoft.com/office/drawing/2014/main" id="{4771F8EB-6DD7-0E89-6686-7E054AA7A82E}"/>
              </a:ext>
            </a:extLst>
          </p:cNvPr>
          <p:cNvSpPr>
            <a:spLocks noEditPoints="1"/>
          </p:cNvSpPr>
          <p:nvPr userDrawn="1"/>
        </p:nvSpPr>
        <p:spPr bwMode="gray">
          <a:xfrm>
            <a:off x="698100" y="1308104"/>
            <a:ext cx="365394" cy="364737"/>
          </a:xfrm>
          <a:custGeom>
            <a:avLst/>
            <a:gdLst>
              <a:gd name="T0" fmla="*/ 85 w 709"/>
              <a:gd name="T1" fmla="*/ 680 h 708"/>
              <a:gd name="T2" fmla="*/ 131 w 709"/>
              <a:gd name="T3" fmla="*/ 582 h 708"/>
              <a:gd name="T4" fmla="*/ 273 w 709"/>
              <a:gd name="T5" fmla="*/ 463 h 708"/>
              <a:gd name="T6" fmla="*/ 354 w 709"/>
              <a:gd name="T7" fmla="*/ 482 h 708"/>
              <a:gd name="T8" fmla="*/ 435 w 709"/>
              <a:gd name="T9" fmla="*/ 463 h 708"/>
              <a:gd name="T10" fmla="*/ 578 w 709"/>
              <a:gd name="T11" fmla="*/ 582 h 708"/>
              <a:gd name="T12" fmla="*/ 624 w 709"/>
              <a:gd name="T13" fmla="*/ 680 h 708"/>
              <a:gd name="T14" fmla="*/ 624 w 709"/>
              <a:gd name="T15" fmla="*/ 708 h 708"/>
              <a:gd name="T16" fmla="*/ 709 w 709"/>
              <a:gd name="T17" fmla="*/ 708 h 708"/>
              <a:gd name="T18" fmla="*/ 709 w 709"/>
              <a:gd name="T19" fmla="*/ 680 h 708"/>
              <a:gd name="T20" fmla="*/ 708 w 709"/>
              <a:gd name="T21" fmla="*/ 656 h 708"/>
              <a:gd name="T22" fmla="*/ 633 w 709"/>
              <a:gd name="T23" fmla="*/ 517 h 708"/>
              <a:gd name="T24" fmla="*/ 633 w 709"/>
              <a:gd name="T25" fmla="*/ 517 h 708"/>
              <a:gd name="T26" fmla="*/ 633 w 709"/>
              <a:gd name="T27" fmla="*/ 517 h 708"/>
              <a:gd name="T28" fmla="*/ 502 w 709"/>
              <a:gd name="T29" fmla="*/ 408 h 708"/>
              <a:gd name="T30" fmla="*/ 539 w 709"/>
              <a:gd name="T31" fmla="*/ 297 h 708"/>
              <a:gd name="T32" fmla="*/ 539 w 709"/>
              <a:gd name="T33" fmla="*/ 184 h 708"/>
              <a:gd name="T34" fmla="*/ 354 w 709"/>
              <a:gd name="T35" fmla="*/ 0 h 708"/>
              <a:gd name="T36" fmla="*/ 170 w 709"/>
              <a:gd name="T37" fmla="*/ 184 h 708"/>
              <a:gd name="T38" fmla="*/ 170 w 709"/>
              <a:gd name="T39" fmla="*/ 297 h 708"/>
              <a:gd name="T40" fmla="*/ 207 w 709"/>
              <a:gd name="T41" fmla="*/ 408 h 708"/>
              <a:gd name="T42" fmla="*/ 76 w 709"/>
              <a:gd name="T43" fmla="*/ 517 h 708"/>
              <a:gd name="T44" fmla="*/ 0 w 709"/>
              <a:gd name="T45" fmla="*/ 680 h 708"/>
              <a:gd name="T46" fmla="*/ 0 w 709"/>
              <a:gd name="T47" fmla="*/ 708 h 708"/>
              <a:gd name="T48" fmla="*/ 85 w 709"/>
              <a:gd name="T49" fmla="*/ 708 h 708"/>
              <a:gd name="T50" fmla="*/ 85 w 709"/>
              <a:gd name="T51" fmla="*/ 680 h 708"/>
              <a:gd name="T52" fmla="*/ 255 w 709"/>
              <a:gd name="T53" fmla="*/ 184 h 708"/>
              <a:gd name="T54" fmla="*/ 354 w 709"/>
              <a:gd name="T55" fmla="*/ 85 h 708"/>
              <a:gd name="T56" fmla="*/ 454 w 709"/>
              <a:gd name="T57" fmla="*/ 184 h 708"/>
              <a:gd name="T58" fmla="*/ 454 w 709"/>
              <a:gd name="T59" fmla="*/ 297 h 708"/>
              <a:gd name="T60" fmla="*/ 354 w 709"/>
              <a:gd name="T61" fmla="*/ 396 h 708"/>
              <a:gd name="T62" fmla="*/ 354 w 709"/>
              <a:gd name="T63" fmla="*/ 396 h 708"/>
              <a:gd name="T64" fmla="*/ 255 w 709"/>
              <a:gd name="T65" fmla="*/ 297 h 708"/>
              <a:gd name="T66" fmla="*/ 255 w 709"/>
              <a:gd name="T67" fmla="*/ 18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9" h="708">
                <a:moveTo>
                  <a:pt x="85" y="680"/>
                </a:moveTo>
                <a:cubicBezTo>
                  <a:pt x="85" y="642"/>
                  <a:pt x="102" y="606"/>
                  <a:pt x="131" y="582"/>
                </a:cubicBezTo>
                <a:cubicBezTo>
                  <a:pt x="273" y="463"/>
                  <a:pt x="273" y="463"/>
                  <a:pt x="273" y="463"/>
                </a:cubicBezTo>
                <a:cubicBezTo>
                  <a:pt x="298" y="475"/>
                  <a:pt x="325" y="482"/>
                  <a:pt x="354" y="482"/>
                </a:cubicBezTo>
                <a:cubicBezTo>
                  <a:pt x="384" y="482"/>
                  <a:pt x="411" y="475"/>
                  <a:pt x="435" y="463"/>
                </a:cubicBezTo>
                <a:cubicBezTo>
                  <a:pt x="578" y="582"/>
                  <a:pt x="578" y="582"/>
                  <a:pt x="578" y="582"/>
                </a:cubicBezTo>
                <a:cubicBezTo>
                  <a:pt x="607" y="606"/>
                  <a:pt x="624" y="642"/>
                  <a:pt x="624" y="680"/>
                </a:cubicBezTo>
                <a:cubicBezTo>
                  <a:pt x="624" y="708"/>
                  <a:pt x="624" y="708"/>
                  <a:pt x="624" y="708"/>
                </a:cubicBezTo>
                <a:cubicBezTo>
                  <a:pt x="709" y="708"/>
                  <a:pt x="709" y="708"/>
                  <a:pt x="709" y="708"/>
                </a:cubicBezTo>
                <a:cubicBezTo>
                  <a:pt x="709" y="680"/>
                  <a:pt x="709" y="680"/>
                  <a:pt x="709" y="680"/>
                </a:cubicBezTo>
                <a:cubicBezTo>
                  <a:pt x="709" y="672"/>
                  <a:pt x="708" y="664"/>
                  <a:pt x="708" y="656"/>
                </a:cubicBezTo>
                <a:cubicBezTo>
                  <a:pt x="702" y="602"/>
                  <a:pt x="675" y="552"/>
                  <a:pt x="633" y="517"/>
                </a:cubicBezTo>
                <a:cubicBezTo>
                  <a:pt x="633" y="517"/>
                  <a:pt x="633" y="517"/>
                  <a:pt x="633" y="517"/>
                </a:cubicBezTo>
                <a:cubicBezTo>
                  <a:pt x="633" y="517"/>
                  <a:pt x="633" y="517"/>
                  <a:pt x="633" y="517"/>
                </a:cubicBezTo>
                <a:cubicBezTo>
                  <a:pt x="502" y="408"/>
                  <a:pt x="502" y="408"/>
                  <a:pt x="502" y="408"/>
                </a:cubicBezTo>
                <a:cubicBezTo>
                  <a:pt x="525" y="377"/>
                  <a:pt x="539" y="339"/>
                  <a:pt x="539" y="297"/>
                </a:cubicBezTo>
                <a:cubicBezTo>
                  <a:pt x="539" y="184"/>
                  <a:pt x="539" y="184"/>
                  <a:pt x="539" y="184"/>
                </a:cubicBezTo>
                <a:cubicBezTo>
                  <a:pt x="539" y="82"/>
                  <a:pt x="456" y="0"/>
                  <a:pt x="354" y="0"/>
                </a:cubicBezTo>
                <a:cubicBezTo>
                  <a:pt x="253" y="0"/>
                  <a:pt x="170" y="82"/>
                  <a:pt x="170" y="184"/>
                </a:cubicBezTo>
                <a:cubicBezTo>
                  <a:pt x="170" y="297"/>
                  <a:pt x="170" y="297"/>
                  <a:pt x="170" y="297"/>
                </a:cubicBezTo>
                <a:cubicBezTo>
                  <a:pt x="170" y="339"/>
                  <a:pt x="184" y="377"/>
                  <a:pt x="207" y="408"/>
                </a:cubicBezTo>
                <a:cubicBezTo>
                  <a:pt x="76" y="517"/>
                  <a:pt x="76" y="517"/>
                  <a:pt x="76" y="517"/>
                </a:cubicBezTo>
                <a:cubicBezTo>
                  <a:pt x="28" y="557"/>
                  <a:pt x="0" y="617"/>
                  <a:pt x="0" y="680"/>
                </a:cubicBezTo>
                <a:cubicBezTo>
                  <a:pt x="0" y="708"/>
                  <a:pt x="0" y="708"/>
                  <a:pt x="0" y="708"/>
                </a:cubicBezTo>
                <a:cubicBezTo>
                  <a:pt x="85" y="708"/>
                  <a:pt x="85" y="708"/>
                  <a:pt x="85" y="708"/>
                </a:cubicBezTo>
                <a:lnTo>
                  <a:pt x="85" y="680"/>
                </a:lnTo>
                <a:close/>
                <a:moveTo>
                  <a:pt x="255" y="184"/>
                </a:moveTo>
                <a:cubicBezTo>
                  <a:pt x="255" y="129"/>
                  <a:pt x="300" y="85"/>
                  <a:pt x="354" y="85"/>
                </a:cubicBezTo>
                <a:cubicBezTo>
                  <a:pt x="409" y="85"/>
                  <a:pt x="454" y="129"/>
                  <a:pt x="454" y="184"/>
                </a:cubicBezTo>
                <a:cubicBezTo>
                  <a:pt x="454" y="297"/>
                  <a:pt x="454" y="297"/>
                  <a:pt x="454" y="297"/>
                </a:cubicBezTo>
                <a:cubicBezTo>
                  <a:pt x="454" y="352"/>
                  <a:pt x="409" y="396"/>
                  <a:pt x="354" y="396"/>
                </a:cubicBezTo>
                <a:cubicBezTo>
                  <a:pt x="354" y="396"/>
                  <a:pt x="354" y="396"/>
                  <a:pt x="354" y="396"/>
                </a:cubicBezTo>
                <a:cubicBezTo>
                  <a:pt x="300" y="396"/>
                  <a:pt x="255" y="352"/>
                  <a:pt x="255" y="297"/>
                </a:cubicBezTo>
                <a:lnTo>
                  <a:pt x="255" y="1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8" name="Graphic 17">
            <a:extLst>
              <a:ext uri="{FF2B5EF4-FFF2-40B4-BE49-F238E27FC236}">
                <a16:creationId xmlns:a16="http://schemas.microsoft.com/office/drawing/2014/main" id="{05035BEE-E88B-4720-C404-E72425EF29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7160" y="1214411"/>
            <a:ext cx="661767" cy="661767"/>
          </a:xfrm>
          <a:prstGeom prst="rect">
            <a:avLst/>
          </a:prstGeom>
        </p:spPr>
      </p:pic>
      <p:pic>
        <p:nvPicPr>
          <p:cNvPr id="19" name="Grafik 19">
            <a:extLst>
              <a:ext uri="{FF2B5EF4-FFF2-40B4-BE49-F238E27FC236}">
                <a16:creationId xmlns:a16="http://schemas.microsoft.com/office/drawing/2014/main" id="{08D88792-E705-600E-9CDF-D1CBA4CEC1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41447" y="1335307"/>
            <a:ext cx="306999" cy="392959"/>
          </a:xfrm>
          <a:prstGeom prst="rect">
            <a:avLst/>
          </a:prstGeom>
        </p:spPr>
      </p:pic>
      <p:grpSp>
        <p:nvGrpSpPr>
          <p:cNvPr id="20" name="Group 218">
            <a:extLst>
              <a:ext uri="{FF2B5EF4-FFF2-40B4-BE49-F238E27FC236}">
                <a16:creationId xmlns:a16="http://schemas.microsoft.com/office/drawing/2014/main" id="{17351F4B-1C8E-2408-013A-510D42FF629C}"/>
              </a:ext>
            </a:extLst>
          </p:cNvPr>
          <p:cNvGrpSpPr>
            <a:grpSpLocks noChangeAspect="1"/>
          </p:cNvGrpSpPr>
          <p:nvPr userDrawn="1"/>
        </p:nvGrpSpPr>
        <p:grpSpPr bwMode="gray">
          <a:xfrm>
            <a:off x="2651555" y="1285484"/>
            <a:ext cx="346047" cy="495730"/>
            <a:chOff x="1623" y="-162"/>
            <a:chExt cx="2513" cy="3600"/>
          </a:xfrm>
          <a:solidFill>
            <a:schemeClr val="accent2"/>
          </a:solidFill>
        </p:grpSpPr>
        <p:sp>
          <p:nvSpPr>
            <p:cNvPr id="21" name="Freeform 220">
              <a:extLst>
                <a:ext uri="{FF2B5EF4-FFF2-40B4-BE49-F238E27FC236}">
                  <a16:creationId xmlns:a16="http://schemas.microsoft.com/office/drawing/2014/main" id="{51E310BC-418E-FE4F-693C-CB82CA4F9A9E}"/>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a:extLst>
                <a:ext uri="{FF2B5EF4-FFF2-40B4-BE49-F238E27FC236}">
                  <a16:creationId xmlns:a16="http://schemas.microsoft.com/office/drawing/2014/main" id="{9FCE522F-FCC9-438B-F080-6219B7D74E5D}"/>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a:extLst>
                <a:ext uri="{FF2B5EF4-FFF2-40B4-BE49-F238E27FC236}">
                  <a16:creationId xmlns:a16="http://schemas.microsoft.com/office/drawing/2014/main" id="{65BFE180-6BC4-91DF-A5FD-1E45A7197AC4}"/>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a:extLst>
                <a:ext uri="{FF2B5EF4-FFF2-40B4-BE49-F238E27FC236}">
                  <a16:creationId xmlns:a16="http://schemas.microsoft.com/office/drawing/2014/main" id="{298081EE-42B2-6FC3-30B8-8E04A661D03F}"/>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4">
              <a:extLst>
                <a:ext uri="{FF2B5EF4-FFF2-40B4-BE49-F238E27FC236}">
                  <a16:creationId xmlns:a16="http://schemas.microsoft.com/office/drawing/2014/main" id="{0FB80BDE-6FC3-4E42-A900-8698390F0365}"/>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52532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7B0DFAA-5429-42F8-9EDF-34F9899F7A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54" y="2381"/>
            <a:ext cx="9141291" cy="5143500"/>
          </a:xfrm>
          <a:prstGeom prst="rect">
            <a:avLst/>
          </a:prstGeom>
        </p:spPr>
      </p:pic>
      <p:sp>
        <p:nvSpPr>
          <p:cNvPr id="5" name="Textplatzhalter 64">
            <a:extLst>
              <a:ext uri="{FF2B5EF4-FFF2-40B4-BE49-F238E27FC236}">
                <a16:creationId xmlns:a16="http://schemas.microsoft.com/office/drawing/2014/main" id="{30A986E2-EBB1-442C-AA73-3AF5BBE311C7}"/>
              </a:ext>
            </a:extLst>
          </p:cNvPr>
          <p:cNvSpPr>
            <a:spLocks noGrp="1"/>
          </p:cNvSpPr>
          <p:nvPr>
            <p:ph type="body" sz="quarter" idx="11" hasCustomPrompt="1"/>
            <p:custDataLst>
              <p:tags r:id="rId1"/>
            </p:custDataLst>
          </p:nvPr>
        </p:nvSpPr>
        <p:spPr>
          <a:xfrm>
            <a:off x="1475656" y="2993539"/>
            <a:ext cx="3096344" cy="372680"/>
          </a:xfrm>
        </p:spPr>
        <p:txBody>
          <a:bodyPr wrap="none" lIns="0" rIns="0">
            <a:noAutofit/>
          </a:bodyPr>
          <a:lstStyle>
            <a:lvl1pPr marL="0" indent="0">
              <a:buFontTx/>
              <a:buNone/>
              <a:defRPr sz="1399" baseline="0">
                <a:solidFill>
                  <a:srgbClr val="000000"/>
                </a:solidFill>
                <a:latin typeface="Noto Sans" panose="020B0502040504020204" pitchFamily="34"/>
                <a:ea typeface="Noto Sans" panose="020B0502040504020204" pitchFamily="34"/>
                <a:cs typeface="Noto Sans" panose="020B0502040504020204" pitchFamily="34"/>
              </a:defRPr>
            </a:lvl1pPr>
            <a:lvl2pPr marL="456789" indent="0">
              <a:buFontTx/>
              <a:buNone/>
              <a:defRPr/>
            </a:lvl2pPr>
            <a:lvl3pPr marL="913577" indent="0">
              <a:buFontTx/>
              <a:buNone/>
              <a:defRPr/>
            </a:lvl3pPr>
            <a:lvl4pPr marL="1370366" indent="0">
              <a:buFontTx/>
              <a:buNone/>
              <a:defRPr/>
            </a:lvl4pPr>
            <a:lvl5pPr marL="1827154" indent="0">
              <a:buFontTx/>
              <a:buNone/>
              <a:defRPr/>
            </a:lvl5pPr>
          </a:lstStyle>
          <a:p>
            <a:pPr lvl="0"/>
            <a:r>
              <a:rPr lang="de-DE" err="1"/>
              <a:t>Author</a:t>
            </a:r>
            <a:r>
              <a:rPr lang="de-DE"/>
              <a:t>, Date</a:t>
            </a:r>
            <a:endParaRPr lang="de-CH"/>
          </a:p>
        </p:txBody>
      </p:sp>
      <p:sp>
        <p:nvSpPr>
          <p:cNvPr id="6" name="Titel 1">
            <a:extLst>
              <a:ext uri="{FF2B5EF4-FFF2-40B4-BE49-F238E27FC236}">
                <a16:creationId xmlns:a16="http://schemas.microsoft.com/office/drawing/2014/main" id="{BAA957BA-4C4D-4913-8338-1675B038D993}"/>
              </a:ext>
            </a:extLst>
          </p:cNvPr>
          <p:cNvSpPr>
            <a:spLocks noGrp="1"/>
          </p:cNvSpPr>
          <p:nvPr>
            <p:ph type="ctrTitle" hasCustomPrompt="1"/>
            <p:custDataLst>
              <p:tags r:id="rId2"/>
            </p:custDataLst>
          </p:nvPr>
        </p:nvSpPr>
        <p:spPr>
          <a:xfrm>
            <a:off x="1475658" y="1383661"/>
            <a:ext cx="5670053" cy="924068"/>
          </a:xfrm>
          <a:prstGeom prst="rect">
            <a:avLst/>
          </a:prstGeom>
        </p:spPr>
        <p:txBody>
          <a:bodyPr lIns="0" tIns="0" rIns="0" bIns="0"/>
          <a:lstStyle>
            <a:lvl1pPr>
              <a:defRPr sz="2997" b="1">
                <a:solidFill>
                  <a:srgbClr val="000000"/>
                </a:solidFill>
                <a:latin typeface="Noto Serif" panose="02020502060505020204" pitchFamily="18"/>
                <a:ea typeface="Noto Serif" panose="02020502060505020204" pitchFamily="18"/>
                <a:cs typeface="Noto Serif" panose="02020502060505020204" pitchFamily="18"/>
              </a:defRPr>
            </a:lvl1pPr>
          </a:lstStyle>
          <a:p>
            <a:r>
              <a:rPr lang="en-GB" noProof="0"/>
              <a:t>Add a title here</a:t>
            </a:r>
            <a:endParaRPr lang="en-US" noProof="0"/>
          </a:p>
        </p:txBody>
      </p:sp>
      <p:sp>
        <p:nvSpPr>
          <p:cNvPr id="7" name="Untertitel 2">
            <a:extLst>
              <a:ext uri="{FF2B5EF4-FFF2-40B4-BE49-F238E27FC236}">
                <a16:creationId xmlns:a16="http://schemas.microsoft.com/office/drawing/2014/main" id="{16C795E0-EFF9-4947-A3ED-405130730649}"/>
              </a:ext>
            </a:extLst>
          </p:cNvPr>
          <p:cNvSpPr>
            <a:spLocks noGrp="1"/>
          </p:cNvSpPr>
          <p:nvPr>
            <p:ph type="subTitle" idx="1" hasCustomPrompt="1"/>
            <p:custDataLst>
              <p:tags r:id="rId3"/>
            </p:custDataLst>
          </p:nvPr>
        </p:nvSpPr>
        <p:spPr>
          <a:xfrm>
            <a:off x="1475658" y="2307729"/>
            <a:ext cx="5670053" cy="685810"/>
          </a:xfrm>
          <a:prstGeom prst="rect">
            <a:avLst/>
          </a:prstGeom>
        </p:spPr>
        <p:txBody>
          <a:bodyPr lIns="0" tIns="0" rIns="0" bIns="0">
            <a:normAutofit/>
          </a:bodyPr>
          <a:lstStyle>
            <a:lvl1pPr marL="0" indent="0" algn="l">
              <a:buNone/>
              <a:defRPr sz="1798">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GB" noProof="0"/>
              <a:t>Need a subtitle? Add it here.</a:t>
            </a:r>
          </a:p>
        </p:txBody>
      </p:sp>
      <p:pic>
        <p:nvPicPr>
          <p:cNvPr id="8" name="Picture 7">
            <a:extLst>
              <a:ext uri="{FF2B5EF4-FFF2-40B4-BE49-F238E27FC236}">
                <a16:creationId xmlns:a16="http://schemas.microsoft.com/office/drawing/2014/main" id="{CB29529F-70CB-4D1D-96F3-0CCDBB93C7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1801" y="413138"/>
            <a:ext cx="1043856" cy="290231"/>
          </a:xfrm>
          <a:prstGeom prst="rect">
            <a:avLst/>
          </a:prstGeom>
        </p:spPr>
      </p:pic>
    </p:spTree>
    <p:extLst>
      <p:ext uri="{BB962C8B-B14F-4D97-AF65-F5344CB8AC3E}">
        <p14:creationId xmlns:p14="http://schemas.microsoft.com/office/powerpoint/2010/main" val="113603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color red">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9CB4E8-20CF-4789-86B5-E136746A37E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itle 1">
            <a:extLst>
              <a:ext uri="{FF2B5EF4-FFF2-40B4-BE49-F238E27FC236}">
                <a16:creationId xmlns:a16="http://schemas.microsoft.com/office/drawing/2014/main" id="{7E112EED-374F-4593-8210-1F651B06CDA8}"/>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8" name="Inhaltsplatzhalter 2">
            <a:extLst>
              <a:ext uri="{FF2B5EF4-FFF2-40B4-BE49-F238E27FC236}">
                <a16:creationId xmlns:a16="http://schemas.microsoft.com/office/drawing/2014/main" id="{7DDC88A9-F6DD-4FD2-A8C4-3A88D5EF7941}"/>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9" name="Graphic 8">
            <a:extLst>
              <a:ext uri="{FF2B5EF4-FFF2-40B4-BE49-F238E27FC236}">
                <a16:creationId xmlns:a16="http://schemas.microsoft.com/office/drawing/2014/main" id="{C59E5AA4-BE96-4899-9D09-EF1CEADA966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354522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color clay">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itle 1">
            <a:extLst>
              <a:ext uri="{FF2B5EF4-FFF2-40B4-BE49-F238E27FC236}">
                <a16:creationId xmlns:a16="http://schemas.microsoft.com/office/drawing/2014/main" id="{1DBD9DDB-635C-4A05-85A5-72BCC1756EF0}"/>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8" name="Inhaltsplatzhalter 2">
            <a:extLst>
              <a:ext uri="{FF2B5EF4-FFF2-40B4-BE49-F238E27FC236}">
                <a16:creationId xmlns:a16="http://schemas.microsoft.com/office/drawing/2014/main" id="{5C678C02-E2A3-471C-BEE9-43A73A7356AF}"/>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6" name="Graphic 5">
            <a:extLst>
              <a:ext uri="{FF2B5EF4-FFF2-40B4-BE49-F238E27FC236}">
                <a16:creationId xmlns:a16="http://schemas.microsoft.com/office/drawing/2014/main" id="{2169D49C-EACC-4B74-8D46-C40FEB5866F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221992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olor marine">
    <p:bg>
      <p:bgPr>
        <a:solidFill>
          <a:schemeClr val="accent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D74A8C6-D784-4E10-892C-AD4B98EE232B}"/>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9" name="Inhaltsplatzhalter 2">
            <a:extLst>
              <a:ext uri="{FF2B5EF4-FFF2-40B4-BE49-F238E27FC236}">
                <a16:creationId xmlns:a16="http://schemas.microsoft.com/office/drawing/2014/main" id="{CD461FB0-64B3-47B3-9032-0A58F84DB720}"/>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Tree>
    <p:extLst>
      <p:ext uri="{BB962C8B-B14F-4D97-AF65-F5344CB8AC3E}">
        <p14:creationId xmlns:p14="http://schemas.microsoft.com/office/powerpoint/2010/main" val="9728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olor horizon">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18F437-46C1-4D36-9495-D55C72357C22}"/>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11" name="Title 1">
            <a:extLst>
              <a:ext uri="{FF2B5EF4-FFF2-40B4-BE49-F238E27FC236}">
                <a16:creationId xmlns:a16="http://schemas.microsoft.com/office/drawing/2014/main" id="{C244BC3A-B508-47DB-AAA8-E753B543854D}"/>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12" name="Inhaltsplatzhalter 2">
            <a:extLst>
              <a:ext uri="{FF2B5EF4-FFF2-40B4-BE49-F238E27FC236}">
                <a16:creationId xmlns:a16="http://schemas.microsoft.com/office/drawing/2014/main" id="{CCE84961-FAD6-4BEF-ABCD-CCF4DC22B9ED}"/>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7" name="Graphic 6">
            <a:extLst>
              <a:ext uri="{FF2B5EF4-FFF2-40B4-BE49-F238E27FC236}">
                <a16:creationId xmlns:a16="http://schemas.microsoft.com/office/drawing/2014/main" id="{5194BD83-B2B6-417A-B597-5E6619B627D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142891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X-Layer red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5018883-E1DD-4291-BBC3-1E19190D33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441" cy="5145826"/>
          </a:xfrm>
          <a:prstGeom prst="rect">
            <a:avLst/>
          </a:prstGeom>
          <a:noFill/>
          <a:ln>
            <a:noFill/>
          </a:ln>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sp>
        <p:nvSpPr>
          <p:cNvPr id="8" name="Text Placeholder 7">
            <a:extLst>
              <a:ext uri="{FF2B5EF4-FFF2-40B4-BE49-F238E27FC236}">
                <a16:creationId xmlns:a16="http://schemas.microsoft.com/office/drawing/2014/main" id="{E2E21024-AF43-4789-8353-63976F982B33}"/>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7" name="Graphic 6">
            <a:extLst>
              <a:ext uri="{FF2B5EF4-FFF2-40B4-BE49-F238E27FC236}">
                <a16:creationId xmlns:a16="http://schemas.microsoft.com/office/drawing/2014/main" id="{7867C98A-7EEC-430D-B706-8CF78A2706E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355734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E63198-9136-4A30-91B9-CC38C430E7E6}"/>
              </a:ext>
            </a:extLst>
          </p:cNvPr>
          <p:cNvGraphicFramePr>
            <a:graphicFrameLocks noChangeAspect="1"/>
          </p:cNvGraphicFramePr>
          <p:nvPr userDrawn="1">
            <p:custDataLst>
              <p:tags r:id="rId38"/>
            </p:custDataLst>
            <p:extLst>
              <p:ext uri="{D42A27DB-BD31-4B8C-83A1-F6EECF244321}">
                <p14:modId xmlns:p14="http://schemas.microsoft.com/office/powerpoint/2010/main" val="12589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73" imgH="476" progId="TCLayout.ActiveDocument.1">
                  <p:embed/>
                </p:oleObj>
              </mc:Choice>
              <mc:Fallback>
                <p:oleObj name="think-cell Slide" r:id="rId43" imgW="473" imgH="476" progId="TCLayout.ActiveDocument.1">
                  <p:embed/>
                  <p:pic>
                    <p:nvPicPr>
                      <p:cNvPr id="6" name="Object 5" hidden="1">
                        <a:extLst>
                          <a:ext uri="{FF2B5EF4-FFF2-40B4-BE49-F238E27FC236}">
                            <a16:creationId xmlns:a16="http://schemas.microsoft.com/office/drawing/2014/main" id="{61E63198-9136-4A30-91B9-CC38C430E7E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E2BEA90-BE02-4B84-813D-E404A20D7FDD}"/>
              </a:ext>
            </a:extLst>
          </p:cNvPr>
          <p:cNvSpPr/>
          <p:nvPr userDrawn="1">
            <p:custDataLst>
              <p:tags r:id="rId39"/>
            </p:custDataLst>
          </p:nvPr>
        </p:nvSpPr>
        <p:spPr>
          <a:xfrm>
            <a:off x="0" y="0"/>
            <a:ext cx="158750" cy="158750"/>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de-CH" sz="219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2" name="Titelplatzhalter 1"/>
          <p:cNvSpPr>
            <a:spLocks noGrp="1"/>
          </p:cNvSpPr>
          <p:nvPr>
            <p:ph type="title"/>
            <p:custDataLst>
              <p:tags r:id="rId40"/>
            </p:custDataLst>
          </p:nvPr>
        </p:nvSpPr>
        <p:spPr>
          <a:xfrm>
            <a:off x="431540" y="341883"/>
            <a:ext cx="7632961" cy="640150"/>
          </a:xfrm>
          <a:prstGeom prst="rect">
            <a:avLst/>
          </a:prstGeom>
        </p:spPr>
        <p:txBody>
          <a:bodyPr vert="horz" lIns="0" tIns="0" rIns="0" bIns="0" rtlCol="0" anchor="t" anchorCtr="0">
            <a:noAutofit/>
          </a:bodyPr>
          <a:lstStyle/>
          <a:p>
            <a:r>
              <a:rPr lang="de-CH"/>
              <a:t>Edit </a:t>
            </a:r>
            <a:r>
              <a:rPr lang="de-CH" err="1"/>
              <a:t>master</a:t>
            </a:r>
            <a:r>
              <a:rPr lang="de-CH"/>
              <a:t> title </a:t>
            </a:r>
            <a:r>
              <a:rPr lang="de-CH" err="1"/>
              <a:t>format</a:t>
            </a:r>
            <a:endParaRPr lang="de-DE"/>
          </a:p>
        </p:txBody>
      </p:sp>
      <p:sp>
        <p:nvSpPr>
          <p:cNvPr id="3" name="Textplatzhalter 2"/>
          <p:cNvSpPr>
            <a:spLocks noGrp="1"/>
          </p:cNvSpPr>
          <p:nvPr>
            <p:ph type="body" idx="1"/>
            <p:custDataLst>
              <p:tags r:id="rId41"/>
            </p:custDataLst>
          </p:nvPr>
        </p:nvSpPr>
        <p:spPr>
          <a:xfrm>
            <a:off x="431540" y="1061202"/>
            <a:ext cx="7632960" cy="3456823"/>
          </a:xfrm>
          <a:prstGeom prst="rect">
            <a:avLst/>
          </a:prstGeom>
        </p:spPr>
        <p:txBody>
          <a:bodyPr vert="horz" lIns="0" tIns="0" rIns="0" bIns="0" rtlCol="0">
            <a:normAutofit/>
          </a:bodyPr>
          <a:lstStyle/>
          <a:p>
            <a:pPr lvl="0"/>
            <a:r>
              <a:rPr lang="en-US"/>
              <a:t>Edit Master text styles</a:t>
            </a:r>
          </a:p>
        </p:txBody>
      </p:sp>
      <p:sp>
        <p:nvSpPr>
          <p:cNvPr id="8" name="Foliennummernplatzhalter 3"/>
          <p:cNvSpPr>
            <a:spLocks noGrp="1"/>
          </p:cNvSpPr>
          <p:nvPr>
            <p:ph type="sldNum" sz="quarter" idx="4"/>
            <p:custDataLst>
              <p:tags r:id="rId42"/>
            </p:custDataLst>
          </p:nvPr>
        </p:nvSpPr>
        <p:spPr>
          <a:xfrm>
            <a:off x="431800" y="4752270"/>
            <a:ext cx="467656" cy="143999"/>
          </a:xfrm>
          <a:prstGeom prst="rect">
            <a:avLst/>
          </a:prstGeom>
        </p:spPr>
        <p:txBody>
          <a:bodyPr vert="horz" lIns="0" tIns="0" rIns="0" bIns="0" rtlCol="0" anchor="ctr"/>
          <a:lstStyle>
            <a:lvl1pPr algn="l">
              <a:defRPr sz="799" b="0">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Tree>
    <p:extLst>
      <p:ext uri="{BB962C8B-B14F-4D97-AF65-F5344CB8AC3E}">
        <p14:creationId xmlns:p14="http://schemas.microsoft.com/office/powerpoint/2010/main" val="4285547335"/>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5" r:id="rId21"/>
    <p:sldLayoutId id="2147484646" r:id="rId22"/>
    <p:sldLayoutId id="2147484647" r:id="rId23"/>
    <p:sldLayoutId id="2147484648" r:id="rId24"/>
    <p:sldLayoutId id="2147484649" r:id="rId25"/>
    <p:sldLayoutId id="2147484650" r:id="rId26"/>
    <p:sldLayoutId id="2147484651" r:id="rId27"/>
    <p:sldLayoutId id="2147484652" r:id="rId28"/>
    <p:sldLayoutId id="2147484653" r:id="rId29"/>
    <p:sldLayoutId id="2147484654" r:id="rId30"/>
    <p:sldLayoutId id="2147484655" r:id="rId31"/>
    <p:sldLayoutId id="2147484656" r:id="rId32"/>
    <p:sldLayoutId id="2147484657" r:id="rId33"/>
    <p:sldLayoutId id="2147484658" r:id="rId34"/>
    <p:sldLayoutId id="2147484659" r:id="rId35"/>
    <p:sldLayoutId id="2147484660"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p:titleStyle>
    <p:body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de-DE"/>
      </a:defPPr>
      <a:lvl1pPr marL="0" algn="l" defTabSz="456789" rtl="0" eaLnBrk="1" latinLnBrk="0" hangingPunct="1">
        <a:defRPr sz="1798" kern="1200">
          <a:solidFill>
            <a:schemeClr val="tx1"/>
          </a:solidFill>
          <a:latin typeface="+mn-lt"/>
          <a:ea typeface="+mn-ea"/>
          <a:cs typeface="+mn-cs"/>
        </a:defRPr>
      </a:lvl1pPr>
      <a:lvl2pPr marL="456789" algn="l" defTabSz="456789" rtl="0" eaLnBrk="1" latinLnBrk="0" hangingPunct="1">
        <a:defRPr sz="1798" kern="1200">
          <a:solidFill>
            <a:schemeClr val="tx1"/>
          </a:solidFill>
          <a:latin typeface="+mn-lt"/>
          <a:ea typeface="+mn-ea"/>
          <a:cs typeface="+mn-cs"/>
        </a:defRPr>
      </a:lvl2pPr>
      <a:lvl3pPr marL="913577" algn="l" defTabSz="456789" rtl="0" eaLnBrk="1" latinLnBrk="0" hangingPunct="1">
        <a:defRPr sz="1798" kern="1200">
          <a:solidFill>
            <a:schemeClr val="tx1"/>
          </a:solidFill>
          <a:latin typeface="+mn-lt"/>
          <a:ea typeface="+mn-ea"/>
          <a:cs typeface="+mn-cs"/>
        </a:defRPr>
      </a:lvl3pPr>
      <a:lvl4pPr marL="1370366" algn="l" defTabSz="456789" rtl="0" eaLnBrk="1" latinLnBrk="0" hangingPunct="1">
        <a:defRPr sz="1798" kern="1200">
          <a:solidFill>
            <a:schemeClr val="tx1"/>
          </a:solidFill>
          <a:latin typeface="+mn-lt"/>
          <a:ea typeface="+mn-ea"/>
          <a:cs typeface="+mn-cs"/>
        </a:defRPr>
      </a:lvl4pPr>
      <a:lvl5pPr marL="1827154" algn="l" defTabSz="456789" rtl="0" eaLnBrk="1" latinLnBrk="0" hangingPunct="1">
        <a:defRPr sz="1798" kern="1200">
          <a:solidFill>
            <a:schemeClr val="tx1"/>
          </a:solidFill>
          <a:latin typeface="+mn-lt"/>
          <a:ea typeface="+mn-ea"/>
          <a:cs typeface="+mn-cs"/>
        </a:defRPr>
      </a:lvl5pPr>
      <a:lvl6pPr marL="2283943" algn="l" defTabSz="456789" rtl="0" eaLnBrk="1" latinLnBrk="0" hangingPunct="1">
        <a:defRPr sz="1798" kern="1200">
          <a:solidFill>
            <a:schemeClr val="tx1"/>
          </a:solidFill>
          <a:latin typeface="+mn-lt"/>
          <a:ea typeface="+mn-ea"/>
          <a:cs typeface="+mn-cs"/>
        </a:defRPr>
      </a:lvl6pPr>
      <a:lvl7pPr marL="2740731" algn="l" defTabSz="456789" rtl="0" eaLnBrk="1" latinLnBrk="0" hangingPunct="1">
        <a:defRPr sz="1798" kern="1200">
          <a:solidFill>
            <a:schemeClr val="tx1"/>
          </a:solidFill>
          <a:latin typeface="+mn-lt"/>
          <a:ea typeface="+mn-ea"/>
          <a:cs typeface="+mn-cs"/>
        </a:defRPr>
      </a:lvl7pPr>
      <a:lvl8pPr marL="3197520" algn="l" defTabSz="456789" rtl="0" eaLnBrk="1" latinLnBrk="0" hangingPunct="1">
        <a:defRPr sz="1798" kern="1200">
          <a:solidFill>
            <a:schemeClr val="tx1"/>
          </a:solidFill>
          <a:latin typeface="+mn-lt"/>
          <a:ea typeface="+mn-ea"/>
          <a:cs typeface="+mn-cs"/>
        </a:defRPr>
      </a:lvl8pPr>
      <a:lvl9pPr marL="3654308" algn="l" defTabSz="456789"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5" pos="5488">
          <p15:clr>
            <a:srgbClr val="F26B43"/>
          </p15:clr>
        </p15:guide>
        <p15:guide id="6" pos="272">
          <p15:clr>
            <a:srgbClr val="F26B43"/>
          </p15:clr>
        </p15:guide>
        <p15:guide id="7" orient="horz" pos="215">
          <p15:clr>
            <a:srgbClr val="F26B43"/>
          </p15:clr>
        </p15:guide>
        <p15:guide id="8" orient="horz" pos="2846">
          <p15:clr>
            <a:srgbClr val="F26B43"/>
          </p15:clr>
        </p15:guide>
        <p15:guide id="9" pos="5080">
          <p15:clr>
            <a:srgbClr val="F26B43"/>
          </p15:clr>
        </p15:guide>
        <p15:guide id="11" orient="horz" pos="6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0.xml"/><Relationship Id="rId5" Type="http://schemas.openxmlformats.org/officeDocument/2006/relationships/image" Target="../media/image39.png"/><Relationship Id="rId4" Type="http://schemas.openxmlformats.org/officeDocument/2006/relationships/image" Target="../media/image38.png"/></Relationships>
</file>

<file path=ppt/slides/_rels/slide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FA6E546A-0D2F-C51E-08FE-813AE287FF01}"/>
              </a:ext>
            </a:extLst>
          </p:cNvPr>
          <p:cNvSpPr txBox="1">
            <a:spLocks/>
          </p:cNvSpPr>
          <p:nvPr/>
        </p:nvSpPr>
        <p:spPr bwMode="gray">
          <a:xfrm>
            <a:off x="683705" y="2336045"/>
            <a:ext cx="7166067" cy="1070488"/>
          </a:xfrm>
          <a:prstGeom prst="rect">
            <a:avLst/>
          </a:prstGeom>
        </p:spPr>
        <p:txBody>
          <a:bodyPr vert="horz" lIns="0" tIns="0" rIns="0" bIns="0" rtlCol="0" anchor="t" anchorCtr="0">
            <a:noAutofit/>
          </a:bodyPr>
          <a:lstStyle>
            <a:lvl1pPr marL="0" algn="l" defTabSz="456789" rtl="0" eaLnBrk="1" latinLnBrk="0" hangingPunct="1">
              <a:spcBef>
                <a:spcPct val="0"/>
              </a:spcBef>
              <a:buNone/>
              <a:defRPr lang="en-US" sz="4000" b="1" kern="1200" dirty="0">
                <a:solidFill>
                  <a:schemeClr val="bg1"/>
                </a:solidFill>
                <a:latin typeface="Noto Serif" panose="020B0502040504020204" pitchFamily="34" charset="0"/>
                <a:ea typeface="Noto Sans" panose="020B0502040504020204" pitchFamily="34"/>
                <a:cs typeface="Noto Sans" panose="020B0502040504020204" pitchFamily="34"/>
              </a:defRPr>
            </a:lvl1pPr>
          </a:lstStyle>
          <a:p>
            <a:pPr marL="0" marR="0" lvl="0" indent="0" algn="l" defTabSz="456789"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Noto Serif" panose="020B0502040504020204" pitchFamily="34" charset="0"/>
              </a:rPr>
              <a:t>6learn</a:t>
            </a:r>
          </a:p>
        </p:txBody>
      </p:sp>
      <p:sp>
        <p:nvSpPr>
          <p:cNvPr id="6" name="TextBox 5">
            <a:extLst>
              <a:ext uri="{FF2B5EF4-FFF2-40B4-BE49-F238E27FC236}">
                <a16:creationId xmlns:a16="http://schemas.microsoft.com/office/drawing/2014/main" id="{7DE1094F-994A-4873-A97A-6E7AFE0ECF22}"/>
              </a:ext>
            </a:extLst>
          </p:cNvPr>
          <p:cNvSpPr txBox="1"/>
          <p:nvPr/>
        </p:nvSpPr>
        <p:spPr>
          <a:xfrm>
            <a:off x="683705" y="3031724"/>
            <a:ext cx="4572000" cy="332527"/>
          </a:xfrm>
          <a:prstGeom prst="rect">
            <a:avLst/>
          </a:prstGeom>
          <a:noFill/>
        </p:spPr>
        <p:txBody>
          <a:bodyPr wrap="square">
            <a:spAutoFit/>
          </a:bodyPr>
          <a:lstStyle/>
          <a:p>
            <a:pPr marL="0" marR="0" lvl="0" indent="0" algn="l" defTabSz="914400" rtl="0" eaLnBrk="1" fontAlgn="auto" latinLnBrk="0" hangingPunct="1">
              <a:lnSpc>
                <a:spcPct val="120000"/>
              </a:lnSpc>
              <a:spcBef>
                <a:spcPct val="20000"/>
              </a:spcBef>
              <a:spcAft>
                <a:spcPts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Noto Sans" panose="020B0502040504020204" pitchFamily="34"/>
              </a:rPr>
              <a:t>Play your way to </a:t>
            </a:r>
            <a:r>
              <a:rPr lang="en-US" sz="1399" dirty="0">
                <a:solidFill>
                  <a:srgbClr val="FFFFFF"/>
                </a:solidFill>
                <a:latin typeface="Noto Sans" panose="020B0502040504020204" pitchFamily="34"/>
              </a:rPr>
              <a:t>financial literacy</a:t>
            </a:r>
            <a:endParaRPr kumimoji="0" lang="en-US" sz="1399" b="0" i="0" u="none" strike="noStrike" kern="1200" cap="none" spc="0" normalizeH="0" baseline="0" noProof="0" dirty="0">
              <a:ln>
                <a:noFill/>
              </a:ln>
              <a:solidFill>
                <a:srgbClr val="FFFFFF"/>
              </a:solidFill>
              <a:effectLst/>
              <a:uLnTx/>
              <a:uFillTx/>
              <a:latin typeface="Noto Sans" panose="020B0502040504020204" pitchFamily="34"/>
            </a:endParaRPr>
          </a:p>
        </p:txBody>
      </p:sp>
    </p:spTree>
    <p:extLst>
      <p:ext uri="{BB962C8B-B14F-4D97-AF65-F5344CB8AC3E}">
        <p14:creationId xmlns:p14="http://schemas.microsoft.com/office/powerpoint/2010/main" val="238734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8B622-E11F-8329-CB95-5EE1B6ABF8BA}"/>
              </a:ext>
            </a:extLst>
          </p:cNvPr>
          <p:cNvSpPr>
            <a:spLocks noGrp="1"/>
          </p:cNvSpPr>
          <p:nvPr>
            <p:ph type="ctrTitle"/>
          </p:nvPr>
        </p:nvSpPr>
        <p:spPr>
          <a:xfrm>
            <a:off x="1475658" y="1383661"/>
            <a:ext cx="3547755" cy="924068"/>
          </a:xfrm>
        </p:spPr>
        <p:txBody>
          <a:bodyPr/>
          <a:lstStyle/>
          <a:p>
            <a:r>
              <a:rPr lang="de-CH" dirty="0" err="1"/>
              <a:t>We</a:t>
            </a:r>
            <a:r>
              <a:rPr lang="de-CH" dirty="0"/>
              <a:t> </a:t>
            </a:r>
            <a:r>
              <a:rPr lang="de-CH" dirty="0" err="1"/>
              <a:t>are</a:t>
            </a:r>
            <a:r>
              <a:rPr lang="de-CH" dirty="0"/>
              <a:t> </a:t>
            </a:r>
            <a:r>
              <a:rPr lang="de-CH" dirty="0" err="1"/>
              <a:t>gamifying</a:t>
            </a:r>
            <a:r>
              <a:rPr lang="de-CH" dirty="0"/>
              <a:t> </a:t>
            </a:r>
            <a:r>
              <a:rPr lang="de-CH" dirty="0" err="1"/>
              <a:t>investing</a:t>
            </a:r>
            <a:endParaRPr lang="de-CH" dirty="0"/>
          </a:p>
        </p:txBody>
      </p:sp>
      <p:sp>
        <p:nvSpPr>
          <p:cNvPr id="4" name="Textplatzhalter 3">
            <a:extLst>
              <a:ext uri="{FF2B5EF4-FFF2-40B4-BE49-F238E27FC236}">
                <a16:creationId xmlns:a16="http://schemas.microsoft.com/office/drawing/2014/main" id="{D1F32943-2D3B-F46B-90F0-CB4C1EDEEAA2}"/>
              </a:ext>
            </a:extLst>
          </p:cNvPr>
          <p:cNvSpPr>
            <a:spLocks noGrp="1"/>
          </p:cNvSpPr>
          <p:nvPr>
            <p:ph type="body" sz="quarter" idx="11"/>
          </p:nvPr>
        </p:nvSpPr>
        <p:spPr/>
        <p:txBody>
          <a:bodyPr/>
          <a:lstStyle/>
          <a:p>
            <a:pPr marL="285750" indent="-285750">
              <a:buFont typeface="Arial" panose="020B0604020202020204" pitchFamily="34" charset="0"/>
              <a:buChar char="•"/>
            </a:pPr>
            <a:r>
              <a:rPr lang="de-CH" dirty="0"/>
              <a:t>Intuitive, mobile-first</a:t>
            </a:r>
          </a:p>
          <a:p>
            <a:pPr marL="285750" indent="-285750">
              <a:buFont typeface="Arial" panose="020B0604020202020204" pitchFamily="34" charset="0"/>
              <a:buChar char="•"/>
            </a:pPr>
            <a:r>
              <a:rPr lang="de-CH" dirty="0" err="1"/>
              <a:t>No</a:t>
            </a:r>
            <a:r>
              <a:rPr lang="de-CH" dirty="0"/>
              <a:t> </a:t>
            </a:r>
            <a:r>
              <a:rPr lang="de-CH" dirty="0" err="1"/>
              <a:t>prior</a:t>
            </a:r>
            <a:r>
              <a:rPr lang="de-CH" dirty="0"/>
              <a:t> </a:t>
            </a:r>
            <a:r>
              <a:rPr lang="de-CH" dirty="0" err="1"/>
              <a:t>knowledge</a:t>
            </a:r>
            <a:endParaRPr lang="de-CH" dirty="0"/>
          </a:p>
          <a:p>
            <a:pPr marL="285750" indent="-285750">
              <a:buFont typeface="Arial" panose="020B0604020202020204" pitchFamily="34" charset="0"/>
              <a:buChar char="•"/>
            </a:pPr>
            <a:r>
              <a:rPr lang="de-CH" dirty="0"/>
              <a:t>Short </a:t>
            </a:r>
            <a:r>
              <a:rPr lang="de-CH" dirty="0" err="1"/>
              <a:t>interactive</a:t>
            </a:r>
            <a:r>
              <a:rPr lang="de-CH" dirty="0"/>
              <a:t> </a:t>
            </a:r>
            <a:r>
              <a:rPr lang="de-CH" dirty="0" err="1"/>
              <a:t>lessons</a:t>
            </a:r>
            <a:endParaRPr lang="de-CH" dirty="0"/>
          </a:p>
          <a:p>
            <a:pPr marL="285750" indent="-285750">
              <a:buFont typeface="Arial" panose="020B0604020202020204" pitchFamily="34" charset="0"/>
              <a:buChar char="•"/>
            </a:pPr>
            <a:r>
              <a:rPr lang="de-CH" dirty="0"/>
              <a:t>Instant </a:t>
            </a:r>
            <a:r>
              <a:rPr lang="de-CH" dirty="0" err="1"/>
              <a:t>feedback</a:t>
            </a:r>
            <a:endParaRPr lang="de-CH" dirty="0"/>
          </a:p>
          <a:p>
            <a:pPr marL="285750" indent="-285750">
              <a:buFont typeface="Arial" panose="020B0604020202020204" pitchFamily="34" charset="0"/>
              <a:buChar char="•"/>
            </a:pPr>
            <a:r>
              <a:rPr lang="de-CH" dirty="0"/>
              <a:t>Free </a:t>
            </a:r>
            <a:r>
              <a:rPr lang="de-CH" dirty="0" err="1"/>
              <a:t>to</a:t>
            </a:r>
            <a:r>
              <a:rPr lang="de-CH" dirty="0"/>
              <a:t> </a:t>
            </a:r>
            <a:r>
              <a:rPr lang="de-CH" dirty="0" err="1"/>
              <a:t>use</a:t>
            </a:r>
            <a:endParaRPr lang="de-CH" dirty="0"/>
          </a:p>
        </p:txBody>
      </p:sp>
      <p:pic>
        <p:nvPicPr>
          <p:cNvPr id="6" name="Grafik 5">
            <a:extLst>
              <a:ext uri="{FF2B5EF4-FFF2-40B4-BE49-F238E27FC236}">
                <a16:creationId xmlns:a16="http://schemas.microsoft.com/office/drawing/2014/main" id="{5FAAE8D9-AE27-8504-5971-2347FBA1CD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26988" y="598989"/>
            <a:ext cx="2163363" cy="4089180"/>
          </a:xfrm>
          <a:prstGeom prst="rect">
            <a:avLst/>
          </a:prstGeom>
        </p:spPr>
      </p:pic>
    </p:spTree>
    <p:extLst>
      <p:ext uri="{BB962C8B-B14F-4D97-AF65-F5344CB8AC3E}">
        <p14:creationId xmlns:p14="http://schemas.microsoft.com/office/powerpoint/2010/main" val="284019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334FFCAE-CB87-3156-9E54-317E23C96D48}"/>
              </a:ext>
            </a:extLst>
          </p:cNvPr>
          <p:cNvSpPr>
            <a:spLocks noGrp="1"/>
          </p:cNvSpPr>
          <p:nvPr>
            <p:ph type="title"/>
          </p:nvPr>
        </p:nvSpPr>
        <p:spPr>
          <a:xfrm>
            <a:off x="1475656" y="1667579"/>
            <a:ext cx="6157848" cy="640150"/>
          </a:xfrm>
        </p:spPr>
        <p:txBody>
          <a:bodyPr/>
          <a:lstStyle/>
          <a:p>
            <a:r>
              <a:rPr lang="de-CH" dirty="0" err="1"/>
              <a:t>We</a:t>
            </a:r>
            <a:r>
              <a:rPr lang="de-CH" dirty="0"/>
              <a:t> </a:t>
            </a:r>
            <a:r>
              <a:rPr lang="de-CH" dirty="0" err="1"/>
              <a:t>are</a:t>
            </a:r>
            <a:r>
              <a:rPr lang="de-CH" dirty="0"/>
              <a:t> </a:t>
            </a:r>
            <a:r>
              <a:rPr lang="de-CH" dirty="0" err="1"/>
              <a:t>democratizing</a:t>
            </a:r>
            <a:r>
              <a:rPr lang="de-CH" dirty="0"/>
              <a:t> </a:t>
            </a:r>
            <a:r>
              <a:rPr lang="de-CH" dirty="0" err="1"/>
              <a:t>financial</a:t>
            </a:r>
            <a:r>
              <a:rPr lang="de-CH" dirty="0"/>
              <a:t> </a:t>
            </a:r>
            <a:r>
              <a:rPr lang="de-CH" dirty="0" err="1"/>
              <a:t>literacy</a:t>
            </a:r>
            <a:endParaRPr lang="de-CH" dirty="0"/>
          </a:p>
        </p:txBody>
      </p:sp>
    </p:spTree>
    <p:extLst>
      <p:ext uri="{BB962C8B-B14F-4D97-AF65-F5344CB8AC3E}">
        <p14:creationId xmlns:p14="http://schemas.microsoft.com/office/powerpoint/2010/main" val="386420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7DA88804-50DF-CECF-5867-EA3DBFE40C17}"/>
              </a:ext>
            </a:extLst>
          </p:cNvPr>
          <p:cNvSpPr>
            <a:spLocks noGrp="1"/>
          </p:cNvSpPr>
          <p:nvPr>
            <p:ph type="title"/>
          </p:nvPr>
        </p:nvSpPr>
        <p:spPr/>
        <p:txBody>
          <a:bodyPr/>
          <a:lstStyle/>
          <a:p>
            <a:r>
              <a:rPr lang="de-CH" dirty="0"/>
              <a:t>Demo</a:t>
            </a:r>
          </a:p>
        </p:txBody>
      </p:sp>
      <p:pic>
        <p:nvPicPr>
          <p:cNvPr id="10" name="Grafik 9">
            <a:extLst>
              <a:ext uri="{FF2B5EF4-FFF2-40B4-BE49-F238E27FC236}">
                <a16:creationId xmlns:a16="http://schemas.microsoft.com/office/drawing/2014/main" id="{5039D7B5-CE3B-EA27-E969-0414CB87104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32303" y="879679"/>
            <a:ext cx="1620000" cy="3062118"/>
          </a:xfrm>
          <a:prstGeom prst="rect">
            <a:avLst/>
          </a:prstGeom>
        </p:spPr>
      </p:pic>
      <p:pic>
        <p:nvPicPr>
          <p:cNvPr id="12" name="Grafik 11">
            <a:extLst>
              <a:ext uri="{FF2B5EF4-FFF2-40B4-BE49-F238E27FC236}">
                <a16:creationId xmlns:a16="http://schemas.microsoft.com/office/drawing/2014/main" id="{7D9E9859-617B-E01F-D4EC-EC31340AF4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2303" y="879677"/>
            <a:ext cx="1620000" cy="3062118"/>
          </a:xfrm>
          <a:prstGeom prst="rect">
            <a:avLst/>
          </a:prstGeom>
        </p:spPr>
      </p:pic>
      <p:pic>
        <p:nvPicPr>
          <p:cNvPr id="14" name="Grafik 13">
            <a:extLst>
              <a:ext uri="{FF2B5EF4-FFF2-40B4-BE49-F238E27FC236}">
                <a16:creationId xmlns:a16="http://schemas.microsoft.com/office/drawing/2014/main" id="{324ED50C-990F-DAC7-9B30-8D831EE8645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80533" y="879677"/>
            <a:ext cx="1620000" cy="3062119"/>
          </a:xfrm>
          <a:prstGeom prst="rect">
            <a:avLst/>
          </a:prstGeom>
        </p:spPr>
      </p:pic>
      <p:pic>
        <p:nvPicPr>
          <p:cNvPr id="16" name="Grafik 15">
            <a:extLst>
              <a:ext uri="{FF2B5EF4-FFF2-40B4-BE49-F238E27FC236}">
                <a16:creationId xmlns:a16="http://schemas.microsoft.com/office/drawing/2014/main" id="{440B2F30-51A3-5D80-AABE-24330B915E1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00533" y="879678"/>
            <a:ext cx="1620000" cy="3062119"/>
          </a:xfrm>
          <a:prstGeom prst="rect">
            <a:avLst/>
          </a:prstGeom>
        </p:spPr>
      </p:pic>
    </p:spTree>
    <p:extLst>
      <p:ext uri="{BB962C8B-B14F-4D97-AF65-F5344CB8AC3E}">
        <p14:creationId xmlns:p14="http://schemas.microsoft.com/office/powerpoint/2010/main" val="3926181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7CA8C5DE-D3AF-66DC-6AFB-0A8087A74343}"/>
              </a:ext>
            </a:extLst>
          </p:cNvPr>
          <p:cNvSpPr>
            <a:spLocks noGrp="1"/>
          </p:cNvSpPr>
          <p:nvPr>
            <p:ph idx="11"/>
          </p:nvPr>
        </p:nvSpPr>
        <p:spPr>
          <a:xfrm>
            <a:off x="434568" y="2826159"/>
            <a:ext cx="8356403" cy="1638873"/>
          </a:xfrm>
        </p:spPr>
        <p:txBody>
          <a:bodyPr/>
          <a:lstStyle/>
          <a:p>
            <a:pPr algn="r"/>
            <a:r>
              <a:rPr lang="de-CH" dirty="0" err="1"/>
              <a:t>Increasing</a:t>
            </a:r>
            <a:r>
              <a:rPr lang="de-CH" dirty="0"/>
              <a:t> stock </a:t>
            </a:r>
            <a:r>
              <a:rPr lang="de-CH" dirty="0" err="1"/>
              <a:t>market</a:t>
            </a:r>
            <a:r>
              <a:rPr lang="de-CH" dirty="0"/>
              <a:t> </a:t>
            </a:r>
            <a:r>
              <a:rPr lang="de-CH" dirty="0" err="1"/>
              <a:t>participation</a:t>
            </a:r>
            <a:endParaRPr lang="de-CH" dirty="0"/>
          </a:p>
          <a:p>
            <a:pPr algn="r"/>
            <a:r>
              <a:rPr lang="de-CH" dirty="0"/>
              <a:t>Generating </a:t>
            </a:r>
            <a:r>
              <a:rPr lang="de-CH" dirty="0" err="1"/>
              <a:t>revenue</a:t>
            </a:r>
            <a:r>
              <a:rPr lang="de-CH" dirty="0"/>
              <a:t> </a:t>
            </a:r>
            <a:r>
              <a:rPr lang="de-CH" dirty="0" err="1"/>
              <a:t>through</a:t>
            </a:r>
            <a:r>
              <a:rPr lang="de-CH" dirty="0"/>
              <a:t> </a:t>
            </a:r>
            <a:r>
              <a:rPr lang="de-CH" dirty="0" err="1"/>
              <a:t>higher</a:t>
            </a:r>
            <a:r>
              <a:rPr lang="de-CH" dirty="0"/>
              <a:t> </a:t>
            </a:r>
            <a:r>
              <a:rPr lang="de-CH" dirty="0" err="1"/>
              <a:t>transaction</a:t>
            </a:r>
            <a:r>
              <a:rPr lang="de-CH" dirty="0"/>
              <a:t> </a:t>
            </a:r>
            <a:r>
              <a:rPr lang="de-CH" dirty="0" err="1"/>
              <a:t>value</a:t>
            </a:r>
            <a:endParaRPr lang="de-CH" dirty="0"/>
          </a:p>
        </p:txBody>
      </p:sp>
      <p:sp>
        <p:nvSpPr>
          <p:cNvPr id="6" name="Inhaltsplatzhalter 5">
            <a:extLst>
              <a:ext uri="{FF2B5EF4-FFF2-40B4-BE49-F238E27FC236}">
                <a16:creationId xmlns:a16="http://schemas.microsoft.com/office/drawing/2014/main" id="{521A9371-E325-2353-2FD3-E0C280A9FEFB}"/>
              </a:ext>
            </a:extLst>
          </p:cNvPr>
          <p:cNvSpPr>
            <a:spLocks noGrp="1"/>
          </p:cNvSpPr>
          <p:nvPr>
            <p:ph idx="1"/>
          </p:nvPr>
        </p:nvSpPr>
        <p:spPr/>
        <p:txBody>
          <a:bodyPr/>
          <a:lstStyle/>
          <a:p>
            <a:pPr marL="285750" indent="-285750">
              <a:buFont typeface="Arial" panose="020B0604020202020204" pitchFamily="34" charset="0"/>
              <a:buChar char="•"/>
            </a:pPr>
            <a:r>
              <a:rPr lang="de-CH" dirty="0" err="1"/>
              <a:t>Inspired</a:t>
            </a:r>
            <a:r>
              <a:rPr lang="de-CH" dirty="0"/>
              <a:t> </a:t>
            </a:r>
            <a:r>
              <a:rPr lang="de-CH" dirty="0" err="1"/>
              <a:t>by</a:t>
            </a:r>
            <a:r>
              <a:rPr lang="de-CH" dirty="0"/>
              <a:t> Wordle &amp; </a:t>
            </a:r>
            <a:r>
              <a:rPr lang="de-CH" dirty="0" err="1"/>
              <a:t>Duolinguo</a:t>
            </a:r>
            <a:endParaRPr lang="de-CH" dirty="0"/>
          </a:p>
          <a:p>
            <a:pPr marL="285750" indent="-285750">
              <a:buFont typeface="Arial" panose="020B0604020202020204" pitchFamily="34" charset="0"/>
              <a:buChar char="•"/>
            </a:pPr>
            <a:r>
              <a:rPr lang="de-CH" dirty="0"/>
              <a:t>Transition </a:t>
            </a:r>
            <a:r>
              <a:rPr lang="de-CH" dirty="0" err="1"/>
              <a:t>from</a:t>
            </a:r>
            <a:r>
              <a:rPr lang="de-CH" dirty="0"/>
              <a:t> game </a:t>
            </a:r>
            <a:r>
              <a:rPr lang="de-CH" dirty="0" err="1"/>
              <a:t>to</a:t>
            </a:r>
            <a:r>
              <a:rPr lang="de-CH" dirty="0"/>
              <a:t> real-</a:t>
            </a:r>
            <a:r>
              <a:rPr lang="de-CH" dirty="0" err="1"/>
              <a:t>world</a:t>
            </a:r>
            <a:r>
              <a:rPr lang="de-CH" dirty="0"/>
              <a:t> </a:t>
            </a:r>
            <a:r>
              <a:rPr lang="de-CH" dirty="0" err="1"/>
              <a:t>investing</a:t>
            </a:r>
            <a:endParaRPr lang="de-CH" dirty="0"/>
          </a:p>
        </p:txBody>
      </p:sp>
      <p:sp>
        <p:nvSpPr>
          <p:cNvPr id="5" name="Titel 4">
            <a:extLst>
              <a:ext uri="{FF2B5EF4-FFF2-40B4-BE49-F238E27FC236}">
                <a16:creationId xmlns:a16="http://schemas.microsoft.com/office/drawing/2014/main" id="{CBB59CC7-2A99-6C74-F499-1D8EA872672A}"/>
              </a:ext>
            </a:extLst>
          </p:cNvPr>
          <p:cNvSpPr>
            <a:spLocks noGrp="1"/>
          </p:cNvSpPr>
          <p:nvPr>
            <p:ph type="title"/>
          </p:nvPr>
        </p:nvSpPr>
        <p:spPr>
          <a:xfrm>
            <a:off x="433184" y="349805"/>
            <a:ext cx="8325958" cy="640150"/>
          </a:xfrm>
        </p:spPr>
        <p:txBody>
          <a:bodyPr>
            <a:normAutofit/>
          </a:bodyPr>
          <a:lstStyle/>
          <a:p>
            <a:r>
              <a:rPr lang="de-CH" dirty="0" err="1"/>
              <a:t>Driving</a:t>
            </a:r>
            <a:r>
              <a:rPr lang="de-CH" dirty="0"/>
              <a:t> </a:t>
            </a:r>
            <a:r>
              <a:rPr lang="de-CH" dirty="0" err="1"/>
              <a:t>revenue</a:t>
            </a:r>
            <a:r>
              <a:rPr lang="de-CH" dirty="0"/>
              <a:t> </a:t>
            </a:r>
            <a:r>
              <a:rPr lang="de-CH" dirty="0" err="1"/>
              <a:t>through</a:t>
            </a:r>
            <a:r>
              <a:rPr lang="de-CH" dirty="0"/>
              <a:t> </a:t>
            </a:r>
            <a:r>
              <a:rPr lang="de-CH" dirty="0" err="1"/>
              <a:t>increased</a:t>
            </a:r>
            <a:r>
              <a:rPr lang="de-CH" dirty="0"/>
              <a:t> </a:t>
            </a:r>
            <a:r>
              <a:rPr lang="de-CH" dirty="0" err="1"/>
              <a:t>participation</a:t>
            </a:r>
            <a:endParaRPr lang="de-CH" dirty="0"/>
          </a:p>
        </p:txBody>
      </p:sp>
      <p:pic>
        <p:nvPicPr>
          <p:cNvPr id="9" name="Grafik 8">
            <a:extLst>
              <a:ext uri="{FF2B5EF4-FFF2-40B4-BE49-F238E27FC236}">
                <a16:creationId xmlns:a16="http://schemas.microsoft.com/office/drawing/2014/main" id="{5DEF709D-C5CC-89E8-C0B4-3A9D6B24140B}"/>
              </a:ext>
            </a:extLst>
          </p:cNvPr>
          <p:cNvPicPr>
            <a:picLocks noChangeAspect="1"/>
          </p:cNvPicPr>
          <p:nvPr/>
        </p:nvPicPr>
        <p:blipFill>
          <a:blip r:embed="rId2"/>
          <a:stretch>
            <a:fillRect/>
          </a:stretch>
        </p:blipFill>
        <p:spPr>
          <a:xfrm>
            <a:off x="329403" y="2721066"/>
            <a:ext cx="2607673" cy="2330986"/>
          </a:xfrm>
          <a:prstGeom prst="rect">
            <a:avLst/>
          </a:prstGeom>
        </p:spPr>
      </p:pic>
    </p:spTree>
    <p:extLst>
      <p:ext uri="{BB962C8B-B14F-4D97-AF65-F5344CB8AC3E}">
        <p14:creationId xmlns:p14="http://schemas.microsoft.com/office/powerpoint/2010/main" val="365352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8B622-E11F-8329-CB95-5EE1B6ABF8BA}"/>
              </a:ext>
            </a:extLst>
          </p:cNvPr>
          <p:cNvSpPr>
            <a:spLocks noGrp="1"/>
          </p:cNvSpPr>
          <p:nvPr>
            <p:ph type="ctrTitle"/>
          </p:nvPr>
        </p:nvSpPr>
        <p:spPr>
          <a:xfrm>
            <a:off x="4760757" y="1383661"/>
            <a:ext cx="3547755" cy="924068"/>
          </a:xfrm>
        </p:spPr>
        <p:txBody>
          <a:bodyPr/>
          <a:lstStyle/>
          <a:p>
            <a:r>
              <a:rPr lang="de-CH" dirty="0" err="1"/>
              <a:t>We</a:t>
            </a:r>
            <a:r>
              <a:rPr lang="de-CH" dirty="0"/>
              <a:t> </a:t>
            </a:r>
            <a:r>
              <a:rPr lang="de-CH" dirty="0" err="1"/>
              <a:t>reach</a:t>
            </a:r>
            <a:r>
              <a:rPr lang="de-CH" dirty="0"/>
              <a:t> </a:t>
            </a:r>
            <a:r>
              <a:rPr lang="de-CH" dirty="0" err="1"/>
              <a:t>those</a:t>
            </a:r>
            <a:r>
              <a:rPr lang="de-CH" dirty="0"/>
              <a:t> </a:t>
            </a:r>
            <a:r>
              <a:rPr lang="de-CH" dirty="0" err="1"/>
              <a:t>traditionally</a:t>
            </a:r>
            <a:r>
              <a:rPr lang="de-CH" dirty="0"/>
              <a:t> </a:t>
            </a:r>
            <a:r>
              <a:rPr lang="de-CH" dirty="0" err="1"/>
              <a:t>excluded</a:t>
            </a:r>
            <a:endParaRPr lang="de-CH" dirty="0"/>
          </a:p>
        </p:txBody>
      </p:sp>
      <p:sp>
        <p:nvSpPr>
          <p:cNvPr id="4" name="Textplatzhalter 3">
            <a:extLst>
              <a:ext uri="{FF2B5EF4-FFF2-40B4-BE49-F238E27FC236}">
                <a16:creationId xmlns:a16="http://schemas.microsoft.com/office/drawing/2014/main" id="{D1F32943-2D3B-F46B-90F0-CB4C1EDEEAA2}"/>
              </a:ext>
            </a:extLst>
          </p:cNvPr>
          <p:cNvSpPr>
            <a:spLocks noGrp="1"/>
          </p:cNvSpPr>
          <p:nvPr>
            <p:ph type="body" sz="quarter" idx="11"/>
          </p:nvPr>
        </p:nvSpPr>
        <p:spPr>
          <a:xfrm>
            <a:off x="4760755" y="2993539"/>
            <a:ext cx="3096344" cy="372680"/>
          </a:xfrm>
        </p:spPr>
        <p:txBody>
          <a:bodyPr/>
          <a:lstStyle/>
          <a:p>
            <a:pPr marL="285750" indent="-285750">
              <a:buFont typeface="Arial" panose="020B0604020202020204" pitchFamily="34" charset="0"/>
              <a:buChar char="•"/>
            </a:pPr>
            <a:r>
              <a:rPr lang="de-CH" dirty="0" err="1"/>
              <a:t>Eliminating</a:t>
            </a:r>
            <a:r>
              <a:rPr lang="de-CH" dirty="0"/>
              <a:t> </a:t>
            </a:r>
            <a:r>
              <a:rPr lang="de-CH" dirty="0" err="1"/>
              <a:t>barriers</a:t>
            </a:r>
            <a:endParaRPr lang="de-CH" dirty="0"/>
          </a:p>
          <a:p>
            <a:pPr marL="285750" indent="-285750">
              <a:buFont typeface="Arial" panose="020B0604020202020204" pitchFamily="34" charset="0"/>
              <a:buChar char="•"/>
            </a:pPr>
            <a:r>
              <a:rPr lang="de-CH" dirty="0" err="1"/>
              <a:t>Broader</a:t>
            </a:r>
            <a:r>
              <a:rPr lang="de-CH" dirty="0"/>
              <a:t> </a:t>
            </a:r>
            <a:r>
              <a:rPr lang="de-CH" dirty="0" err="1"/>
              <a:t>inclusitivity</a:t>
            </a:r>
            <a:endParaRPr lang="de-CH" dirty="0"/>
          </a:p>
          <a:p>
            <a:pPr marL="285750" indent="-285750">
              <a:buFont typeface="Arial" panose="020B0604020202020204" pitchFamily="34" charset="0"/>
              <a:buChar char="•"/>
            </a:pPr>
            <a:r>
              <a:rPr lang="de-CH" dirty="0" err="1"/>
              <a:t>Encouraging</a:t>
            </a:r>
            <a:r>
              <a:rPr lang="de-CH" dirty="0"/>
              <a:t> </a:t>
            </a:r>
            <a:r>
              <a:rPr lang="de-CH" dirty="0" err="1"/>
              <a:t>debate</a:t>
            </a:r>
            <a:endParaRPr lang="de-CH" dirty="0"/>
          </a:p>
          <a:p>
            <a:pPr marL="285750" indent="-285750">
              <a:buFont typeface="Arial" panose="020B0604020202020204" pitchFamily="34" charset="0"/>
              <a:buChar char="•"/>
            </a:pPr>
            <a:r>
              <a:rPr lang="de-CH" dirty="0"/>
              <a:t>Confidence </a:t>
            </a:r>
            <a:r>
              <a:rPr lang="de-CH" dirty="0" err="1"/>
              <a:t>with</a:t>
            </a:r>
            <a:r>
              <a:rPr lang="de-CH" dirty="0"/>
              <a:t> </a:t>
            </a:r>
            <a:r>
              <a:rPr lang="de-CH" dirty="0" err="1"/>
              <a:t>financial</a:t>
            </a:r>
            <a:r>
              <a:rPr lang="de-CH" dirty="0"/>
              <a:t> </a:t>
            </a:r>
            <a:r>
              <a:rPr lang="de-CH" dirty="0" err="1"/>
              <a:t>concepts</a:t>
            </a:r>
            <a:endParaRPr lang="de-CH" dirty="0"/>
          </a:p>
        </p:txBody>
      </p:sp>
      <p:pic>
        <p:nvPicPr>
          <p:cNvPr id="1026" name="Picture 2" descr="실내에 앉아서 건배하는 사람들">
            <a:extLst>
              <a:ext uri="{FF2B5EF4-FFF2-40B4-BE49-F238E27FC236}">
                <a16:creationId xmlns:a16="http://schemas.microsoft.com/office/drawing/2014/main" id="{66AC0AE0-B562-A308-8A3D-FCF0AEFED8E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3962" y="1510454"/>
            <a:ext cx="3752984" cy="2503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170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OFFICEATWORKPOWERPOINTMASTERTEMPLATECONFIGURATION" val="&lt;!--Created with officeatwork--&gt;&#10;&lt;MasterTemplateConfiguration&gt;&#10;  &lt;TableOfContentsCollection /&gt;&#10;  &lt;ThemeDefinition&gt;&#10;    &lt;DefaultThemeDefinition&gt;%Themes%\SIX_16_9.thmx&lt;/DefaultThemeDefinition&gt;&#10;    &lt;PresentationThemeDefinition&gt;%Themes%\SIX_16_9.thmx&lt;/PresentationThemeDefinition&gt;&#10;    &lt;SlideThemeDefinition&gt;%Themes%\SIX_16_9.thmx&lt;/SlideThemeDefinition&gt;&#10;    &lt;ObjectThemeDefinition&gt;%Themes%\SIX_16_9.thmx&lt;/ObjectThemeDefinition&gt;&#10;  &lt;/ThemeDefinition&gt;&#10;  &lt;MasterProperties&gt;&#10;    &lt;MasterProperty Id=&quot;2004112217333376588294&quot;&gt;&#10;      &lt;Fields&gt;&#10;        &lt;Field Id=&quot;2010071616312990191265&quot; ShowField=&quot;false&quot; /&gt;&#10;        &lt;Field Id=&quot;2012040523062620104488&quot; ShowField=&quot;false&quot; /&gt;&#10;        &lt;Field Id=&quot;2012050821494952657024&quot; ShowField=&quot;false&quot; /&gt;&#10;        &lt;Field Id=&quot;2010032915520270663768&quot; ShowField=&quot;false&quot; /&gt;&#10;        &lt;Field Id=&quot;2011050211061636844783&quot; ShowField=&quot;false&quot; /&gt;&#10;        &lt;Field Id=&quot;2011050213513807649379&quot; ShowField=&quot;true&quot; /&gt;&#10;        &lt;Field Id=&quot;2012042015151635847027&quot; ShowField=&quot;false&quot; /&gt;&#10;        &lt;Field Id=&quot;2009346473455534565434&quot; ShowField=&quot;false&quot; /&gt;&#10;        &lt;Field Id=&quot;2010484358747778588585&quot; ShowField=&quot;false&quot; /&gt;&#10;        &lt;Field Id=&quot;2009298567638762347576&quot; ShowField=&quot;false&quot; /&gt;&#10;        &lt;Field Id=&quot;2010938776637366667384&quot; ShowField=&quot;false&quot; /&gt;&#10;        &lt;Field Id=&quot;2009409359875698723785&quot; ShowField=&quot;false&quot; /&gt;&#10;        &lt;Field Id=&quot;2009450968748963487544&quot; ShowField=&quot;false&quot; /&gt;&#10;        &lt;Field Id=&quot;2009345985687438764387&quot; ShowField=&quot;false&quot; /&gt;&#10;        &lt;Field Id=&quot;2009439084398739248345&quot; ShowField=&quot;false&quot; /&gt;&#10;        &lt;Field Id=&quot;2010052709203568168697&quot; ShowField=&quot;false&quot; /&gt;&#10;        &lt;Field Id=&quot;2010052709203568168999&quot; ShowField=&quot;false&quot; /&gt;&#10;        &lt;Field Id=&quot;2010081314235040761226&quot; ShowField=&quot;false&quot; /&gt;&#10;        &lt;Field Id=&quot;2010081314370484946407&quot; ShowField=&quot;false&quot; /&gt;&#10;        &lt;Field Id=&quot;2010081908365766068447&quot; ShowField=&quot;false&quot; /&gt;&#10;        &lt;Field Id=&quot;2010071409505564153896&quot; ShowField=&quot;false&quot; /&gt;&#10;        &lt;Field Id=&quot;2010457458648437435754&quot; ShowField=&quot;false&quot; /&gt;&#10;        &lt;Field Id=&quot;2010334843563587435756&quot; ShowField=&quot;false&quot; /&gt;&#10;        &lt;Field Id=&quot;2010454765657565467885&quot; ShowField=&quot;false&quot; /&gt;&#10;        &lt;Field Id=&quot;2010071609505234126262&quot; ShowField=&quot;false&quot; /&gt;&#10;        &lt;Field Id=&quot;2010071410352572598385&quot; ShowField=&quot;false&quot; /&gt;&#10;        &lt;Field Id=&quot;2010071410490511749920&quot; ShowField=&quot;false&quot; /&gt;&#10;        &lt;Field Id=&quot;2010122109381298551754&quot; ShowField=&quot;false&quot; /&gt;&#10;        &lt;Field Id=&quot;2010062409493217471752&quot; ShowField=&quot;false&quot; /&gt;&#10;        &lt;Field Id=&quot;2010509847846663535346&quot; ShowField=&quot;false&quot; /&gt;&#10;        &lt;Field Id=&quot;2009113010035001892635&quot; ShowField=&quot;false&quot; /&gt;&#10;        &lt;Field Id=&quot;2009934757239572378463&quot; ShowField=&quot;false&quot; /&gt;&#10;        &lt;Field Id=&quot;2010437563857684363535&quot; ShowField=&quot;false&quot; /&gt;&#10;        &lt;Field Id=&quot;2009329784534874278274&quot; ShowField=&quot;false&quot; /&gt;&#10;        &lt;Field Id=&quot;2010112308540528949596&quot; ShowField=&quot;false&quot; /&gt;&#10;        &lt;Field Id=&quot;2005042611175985034679&quot; ShowField=&quot;false&quot; /&gt;&#10;        &lt;Field Id=&quot;2010112214180739507457&quot; ShowField=&quot;false&quot; /&gt;&#10;        &lt;Field Id=&quot;2010052614322973813015&quot; ShowField=&quot;false&quot; /&gt;&#10;        &lt;Field Id=&quot;2010459567854674576463&quot; ShowField=&quot;false&quot; /&gt;&#10;        &lt;Field Id=&quot;2010485676746363534446&quot; ShowField=&quot;false&quot; /&gt;&#10;        &lt;Field Id=&quot;2010439856435874586538&quot; ShowField=&quot;false&quot; /&gt;&#10;        &lt;Field Id=&quot;2010493849878452368455&quot; ShowField=&quot;false&quot; /&gt;&#10;        &lt;Field Id=&quot;2010560986789746465343&quot; ShowField=&quot;false&quot; /&gt;&#10;        &lt;Field Id=&quot;2010071413442097633129&quot; ShowField=&quot;false&quot; /&gt;&#10;        &lt;Field Id=&quot;2010112308202494613918&quot; ShowField=&quot;false&quot; /&gt;&#10;        &lt;Field Id=&quot;2010122113041275135235&quot; ShowField=&quot;false&quot; /&gt;&#10;        &lt;Field Id=&quot;2010112308210202802196&quot; ShowField=&quot;false&quot; /&gt;&#10;        &lt;Field Id=&quot;2010112308213529200466&quot; ShowField=&quot;false&quot; /&gt;&#10;        &lt;Field Id=&quot;2010112308261544157207&quot; ShowField=&quot;false&quot; /&gt;&#10;        &lt;Field Id=&quot;2010052708544662262432&quot; ShowField=&quot;false&quot; /&gt;&#10;        &lt;Field Id=&quot;2010081114192663248119&quot; ShowField=&quot;false&quot; /&gt;&#10;        &lt;Field Id=&quot;2013082612420950423488&quot; ShowField=&quot;false&quot; /&gt;&#10;        &lt;Field Id=&quot;2010052711051194897777&quot; ShowField=&quot;false&quot; /&gt;&#10;        &lt;Field Id=&quot;2010052712375349591198&quot; ShowField=&quot;false&quot; /&gt;&#10;        &lt;Field Id=&quot;2014071813434436944942&quot; ShowField=&quot;false&quot; /&gt;&#10;        &lt;Field Id=&quot;2010052711051194899593&quot; ShowField=&quot;false&quot; /&gt;&#10;        &lt;Field Id=&quot;2010052711060581611583&quot; ShowField=&quot;false&quot; /&gt;&#10;        &lt;Field Id=&quot;2010081315341800844570&quot; ShowField=&quot;false&quot; /&gt;&#10;        &lt;Field Id=&quot;2014071809454987909603&quot; ShowField=&quot;false&quot; /&gt;&#10;        &lt;Field Id=&quot;2010081316193575025509&quot; ShowField=&quot;false&quot; /&gt;&#10;        &lt;Field Id=&quot;2014071810255453491115&quot; ShowField=&quot;false&quot; /&gt;&#10;        &lt;Field Id=&quot;2014071811144379592266&quot; ShowField=&quot;false&quot; /&gt;&#10;        &lt;Field Id=&quot;2014071810271465798290&quot; ShowField=&quot;false&quot; /&gt;&#10;        &lt;Field Id=&quot;2014071810271805730983&quot; ShowField=&quot;false&quot; /&gt;&#10;        &lt;Field Id=&quot;2014071811151278478847&quot; ShowField=&quot;false&quot; /&gt;&#10;        &lt;Field Id=&quot;2014071810272272455272&quot; ShowField=&quot;false&quot; /&gt;&#10;        &lt;Field Id=&quot;2010081609182049873699&quot; ShowField=&quot;false&quot; /&gt;&#10;        &lt;Field Id=&quot;2010052713064159394527&quot; ShowField=&quot;false&quot; /&gt;&#10;        &lt;Field Id=&quot;2010052713065092670086&quot; ShowField=&quot;false&quot; /&gt;&#10;        &lt;Field Id=&quot;2011042910550556583034&quot; ShowField=&quot;false&quot; /&gt;&#10;        &lt;Field Id=&quot;2011042910460727443859&quot; ShowField=&quot;false&quot; /&gt;&#10;        &lt;Field Id=&quot;2011042910464744783764&quot; ShowField=&quot;false&quot; /&gt;&#10;        &lt;Field Id=&quot;2012101720402147296734&quot; ShowField=&quot;false&quot; /&gt;&#10;      &lt;/Fields&gt;&#10;    &lt;/MasterProperty&gt;&#10;  &lt;/MasterProperties&gt;&#10;  &lt;ContentItems&gt;&#10;    &lt;ContentItem Language=&quot;2057&quot; IsDefault=&quot;false&quot;&gt;&#10;      &lt;File HasContent=&quot;false&quot; LinkToLanguage=&quot;&quot; /&gt;&#10;    &lt;/ContentItem&gt;&#10;    &lt;ContentItem Language=&quot;1033&quot; IsDefault=&quot;false&quot;&gt;&#10;      &lt;File HasContent=&quot;false&quot; LinkToLanguage=&quot;&quot; /&gt;&#10;    &lt;/ContentItem&gt;&#10;    &lt;ContentItem Language=&quot;1036&quot; IsDefault=&quot;false&quot;&gt;&#10;      &lt;File HasContent=&quot;false&quot; LinkToLanguage=&quot;&quot; /&gt;&#10;    &lt;/ContentItem&gt;&#10;    &lt;ContentItem Language=&quot;4108&quot; IsDefault=&quot;false&quot;&gt;&#10;      &lt;File HasContent=&quot;false&quot; LinkToLanguage=&quot;&quot; /&gt;&#10;    &lt;/ContentItem&gt;&#10;    &lt;ContentItem Language=&quot;1031&quot; IsDefault=&quot;false&quot;&gt;&#10;      &lt;File HasContent=&quot;false&quot; LinkToLanguage=&quot;&quot; /&gt;&#10;    &lt;/ContentItem&gt;&#10;    &lt;ContentItem Language=&quot;2055&quot; IsDefault=&quot;true&quot;&gt;&#10;      &lt;File HasContent=&quot;true&quot; LinkToLanguage=&quot;&quot; /&gt;&#10;    &lt;/ContentItem&gt;&#10;    &lt;ContentItem Language=&quot;1040&quot; IsDefault=&quot;false&quot;&gt;&#10;      &lt;File HasContent=&quot;false&quot; LinkToLanguage=&quot;&quot; /&gt;&#10;    &lt;/ContentItem&gt;&#10;    &lt;ContentItem Language=&quot;2064&quot; IsDefault=&quot;false&quot;&gt;&#10;      &lt;File HasContent=&quot;false&quot; LinkToLanguage=&quot;&quot; /&gt;&#10;    &lt;/ContentItem&gt;&#10;  &lt;/ContentItems&gt;&#10;&lt;/MasterTemplateConfiguration&gt;"/>
  <p:tag name="OFFICEATWORKPOWERPOINTMASTERTEMPLATEID" val="Presentation169"/>
  <p:tag name="OAWWIZARDSTEPS" val="0|1|4"/>
  <p:tag name="ZOAWLANGID" val="2055"/>
  <p:tag name="OAWDOCPROPSOURCE" val="&lt;DocProps&gt;&lt;DocProp UID=&quot;2002122011014149059130932&quot; EntryUID=&quot;2017032715203614304683&quot;&gt;&lt;Field Name=&quot;IDName&quot; Value=&quot;SMM, SIX Management, Zurich, Pfingstweidstrasse&quot;/&gt;&lt;Field Name=&quot;Organisation&quot; Value=&quot;SIX Management AG&quot;/&gt;&lt;Field Name=&quot;Address1&quot; Value=&quot;Pfingstweidstrasse 110&quot;/&gt;&lt;Field Name=&quot;Address2&quot; Value=&quot;CH-8005 Zürich&quot;/&gt;&lt;Field Name=&quot;Address3&quot; Value=&quot;&quot;/&gt;&lt;Field Name=&quot;Address4&quot; Value=&quot;&quot;/&gt;&lt;Field Name=&quot;Telefon&quot; Value=&quot;+41 58 399 2111&quot;/&gt;&lt;Field Name=&quot;Fax&quot; Value=&quot;+41 58 499 2111&quot;/&gt;&lt;Field Name=&quot;Country&quot; Value=&quot;&quot;/&gt;&lt;Field Name=&quot;LogoColor&quot; Value=&quot;%Logos%\SIX_logo_a4_rgb_2108.204.emf&quot;/&gt;&lt;Field Name=&quot;LogoBlackWhite&quot; Value=&quot;%Logos%\SIX_logo_a4_black_2107.204.emf&quot;/&gt;&lt;Field Name=&quot;Address5&quot; Value=&quot;&quot;/&gt;&lt;Field Name=&quot;Address6&quot; Value=&quot;&quot;/&gt;&lt;Field Name=&quot;Email&quot; Value=&quot;&quot;/&gt;&lt;Field Name=&quot;Internet&quot; Value=&quot;www.six-group.com&quot;/&gt;&lt;Field Name=&quot;City&quot; Value=&quot;Zürich&quot;/&gt;&lt;Field Name=&quot;Footer1&quot; Value=&quot;&quot;/&gt;&lt;Field Name=&quot;Footer2&quot; Value=&quot;&quot;/&gt;&lt;Field Name=&quot;Footer3&quot; Value=&quot;&quot;/&gt;&lt;Field Name=&quot;Footer4&quot; Value=&quot;&quot;/&gt;&lt;Field Name=&quot;MailingAddress1&quot; Value=&quot;Postfach&quot;/&gt;&lt;Field Name=&quot;MailingAddress4&quot; Value=&quot;&quot;/&gt;&lt;Field Name=&quot;MailingAddress3&quot; Value=&quot;&quot;/&gt;&lt;Field Name=&quot;MailingAddress2&quot; Value=&quot;CH-8021 Zürich&quot;/&gt;&lt;Field Name=&quot;Payment1&quot; Value=&quot;&quot;/&gt;&lt;Field Name=&quot;Payment2&quot; Value=&quot;&quot;/&gt;&lt;Field Name=&quot;Payment3&quot; Value=&quot;&quot;/&gt;&lt;Field Name=&quot;Payment4&quot; Value=&quot;&quot;/&gt;&lt;Field Name=&quot;Department&quot; Value=&quot;&quot;/&gt;&lt;Field Name=&quot;CardsCombiColor&quot; Value=&quot;&quot;/&gt;&lt;Field Name=&quot;CardsCombiBlackWhite&quot; Value=&quot;&quot;/&gt;&lt;Field Name=&quot;FLSISColor&quot; Value=&quot;&quot;/&gt;&lt;Field Name=&quot;FLSISBlackWhite&quot; Value=&quot;&quot;/&gt;&lt;Field Name=&quot;LogosNameTags&quot; Value=&quot;%Logos%\SIX_NameTags_SIX_a4_rgb.2100.2970.png&quot;/&gt;&lt;Field Name=&quot;PowerPointDescriptor&quot; Value=&quot;%Logos%\PowerPoint\Neutral.png&quot;/&gt;&lt;Field Name=&quot;PowerPointDescriptorWhite&quot; Value=&quot;%Logos%\PowerPoint\Neutral_white.png&quot;/&gt;&lt;Field Name=&quot;43AdditionalPictureTitleSlide4&quot; Value=&quot;&quot;/&gt;&lt;Field Name=&quot;169AdditionalPictureTitleSlide4&quot; Value=&quot;&quot;/&gt;&lt;Field Name=&quot;Data_UID&quot; Value=&quot;2017032715203614304683&quot;/&gt;&lt;Field Name=&quot;Field_Name&quot; Value=&quot;Address2&quot;/&gt;&lt;Field Name=&quot;Field_UID&quot; Value=&quot;20030218192855313093400587&quot;/&gt;&lt;Field Name=&quot;ML_LCID&quot; Value=&quot;2055&quot;/&gt;&lt;Field Name=&quot;ML_Value&quot; Value=&quot;CH-8005 Zürich&quot;/&gt;&lt;/DocProp&gt;&lt;DocProp UID=&quot;2006040509495284662868&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212191811121321310321301031x&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2122010583847234010578&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3061115381095709037&quot; EntryUID=&quot;2003121817293296325874&quot;&gt;&lt;Field Name=&quot;IDName&quot; Value=&quot;(Leer)&quot;/&gt;&lt;/DocProp&gt;&lt;DocProp UID=&quot;2004112217333376588294&quot; EntryUID=&quot;2004123010144120300001&quot;&gt;&lt;Field UID=&quot;2011050213513807649379&quot; Name=&quot;PPClassificationFooter&quot; Value=&quot;&quot;/&gt;&lt;/DocProp&gt;&lt;/DocProps&gt;&#10;"/>
  <p:tag name="OFFICEATWORKPRESENTATIONPROJECTID" val="sixgroupcom"/>
  <p:tag name="PREVIOUS_ACTIVE_SLIDE" val="25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2.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SdxvtZvzdx25MIj.4OSjA"/>
</p:tagLst>
</file>

<file path=ppt/tags/tag3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Mastertitelformat bearbeiten"/>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Mastertextformat bearbeiten"/>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heme/theme1.xml><?xml version="1.0" encoding="utf-8"?>
<a:theme xmlns:a="http://schemas.openxmlformats.org/drawingml/2006/main" name="1_SIX_Template_16_9_komprimiert">
  <a:themeElements>
    <a:clrScheme name="SIX_colors">
      <a:dk1>
        <a:srgbClr val="000000"/>
      </a:dk1>
      <a:lt1>
        <a:srgbClr val="FFFFFF"/>
      </a:lt1>
      <a:dk2>
        <a:srgbClr val="DE3919"/>
      </a:dk2>
      <a:lt2>
        <a:srgbClr val="4E4E4E"/>
      </a:lt2>
      <a:accent1>
        <a:srgbClr val="ADA398"/>
      </a:accent1>
      <a:accent2>
        <a:srgbClr val="DE3919"/>
      </a:accent2>
      <a:accent3>
        <a:srgbClr val="4E4E4E"/>
      </a:accent3>
      <a:accent4>
        <a:srgbClr val="88C1E4"/>
      </a:accent4>
      <a:accent5>
        <a:srgbClr val="002C5F"/>
      </a:accent5>
      <a:accent6>
        <a:srgbClr val="DBDBDB"/>
      </a:accent6>
      <a:hlink>
        <a:srgbClr val="88C1E4"/>
      </a:hlink>
      <a:folHlink>
        <a:srgbClr val="88C1E4"/>
      </a:folHlink>
    </a:clrScheme>
    <a:fontScheme name="SIX_Noto Sans">
      <a:majorFont>
        <a:latin typeface="Noto Sans"/>
        <a:ea typeface=""/>
        <a:cs typeface=""/>
      </a:majorFont>
      <a:minorFont>
        <a:latin typeface="Noto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3"/>
          </a:solidFill>
        </a:ln>
      </a:spPr>
      <a:bodyPr rot="0" spcFirstLastPara="0" vert="horz" wrap="square" lIns="91440" tIns="45720" rIns="91440" bIns="45720" numCol="1" spcCol="0" rtlCol="0" fromWordArt="0" anchor="t" anchorCtr="0" forceAA="0" compatLnSpc="1">
        <a:prstTxWarp prst="textNoShape">
          <a:avLst/>
        </a:prstTxWarp>
        <a:noAutofit/>
      </a:bodyPr>
      <a:lstStyle>
        <a:defPPr algn="ctr">
          <a:defRPr dirty="0" smtClean="0">
            <a:latin typeface="Noto Sans" panose="020B0502040504020204" pitchFamily="34" charset="0"/>
            <a:ea typeface="Noto Sans" panose="020B050204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000" dirty="0">
            <a:latin typeface="Noto Sans" panose="020B0502040504020204" pitchFamily="34" charset="0"/>
          </a:defRPr>
        </a:defPPr>
      </a:lstStyle>
    </a:txDef>
  </a:objectDefaults>
  <a:extraClrSchemeLst/>
  <a:extLst>
    <a:ext uri="{05A4C25C-085E-4340-85A3-A5531E510DB2}">
      <thm15:themeFamily xmlns:thm15="http://schemas.microsoft.com/office/thememl/2012/main" name="SIX_Template_16_9_komprimiert.potx" id="{D10A2732-DD94-44BF-8DC1-90B7CC5BF15D}" vid="{14A7EEF7-737A-418F-B8ED-FB125850F5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DesignTheme>SIX_16_9.thmx</DesignTheme>
</file>

<file path=customXml/item4.xml><?xml version="1.0" encoding="utf-8"?>
<ct:contentTypeSchema xmlns:ct="http://schemas.microsoft.com/office/2006/metadata/contentType" xmlns:ma="http://schemas.microsoft.com/office/2006/metadata/properties/metaAttributes" ct:_="" ma:_="" ma:contentTypeName="Dokument" ma:contentTypeID="0x010100386F0FB350EB2F4BB4230A1EB71164FF" ma:contentTypeVersion="10" ma:contentTypeDescription="Ein neues Dokument erstellen." ma:contentTypeScope="" ma:versionID="305fcb1ce37861adb2f042e9e6687546">
  <xsd:schema xmlns:xsd="http://www.w3.org/2001/XMLSchema" xmlns:xs="http://www.w3.org/2001/XMLSchema" xmlns:p="http://schemas.microsoft.com/office/2006/metadata/properties" xmlns:ns3="d7dedac7-5b1b-4279-a5c7-81f1e47f3491" targetNamespace="http://schemas.microsoft.com/office/2006/metadata/properties" ma:root="true" ma:fieldsID="dc3ea4b55fe11ad8944ec3d96bf5884c" ns3:_="">
    <xsd:import namespace="d7dedac7-5b1b-4279-a5c7-81f1e47f349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dedac7-5b1b-4279-a5c7-81f1e47f34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8239EE-E21C-43F7-BEBD-2181113B119A}">
  <ds:schemaRefs>
    <ds:schemaRef ds:uri="http://schemas.microsoft.com/sharepoint/v3/contenttype/forms"/>
  </ds:schemaRefs>
</ds:datastoreItem>
</file>

<file path=customXml/itemProps2.xml><?xml version="1.0" encoding="utf-8"?>
<ds:datastoreItem xmlns:ds="http://schemas.openxmlformats.org/officeDocument/2006/customXml" ds:itemID="{4098EBA6-DF91-47A4-A3D0-319C78D725A4}">
  <ds:schemaRefs>
    <ds:schemaRef ds:uri="http://schemas.microsoft.com/office/2006/documentManagement/types"/>
    <ds:schemaRef ds:uri="http://schemas.microsoft.com/office/infopath/2007/PartnerControls"/>
    <ds:schemaRef ds:uri="d7dedac7-5b1b-4279-a5c7-81f1e47f3491"/>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64027CF9-4BF7-4BB3-ABC0-B46C99855C94}">
  <ds:schemaRefs/>
</ds:datastoreItem>
</file>

<file path=customXml/itemProps4.xml><?xml version="1.0" encoding="utf-8"?>
<ds:datastoreItem xmlns:ds="http://schemas.openxmlformats.org/officeDocument/2006/customXml" ds:itemID="{2CD19954-D6C5-4DF0-BA73-CCD410533D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dedac7-5b1b-4279-a5c7-81f1e47f34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ayouts-Maps-Pictos-and-More</Template>
  <TotalTime>0</TotalTime>
  <Words>73</Words>
  <Application>Microsoft Office PowerPoint</Application>
  <PresentationFormat>Benutzerdefiniert</PresentationFormat>
  <Paragraphs>21</Paragraphs>
  <Slides>6</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13" baseType="lpstr">
      <vt:lpstr>Arial</vt:lpstr>
      <vt:lpstr>Calibri</vt:lpstr>
      <vt:lpstr>Noto Sans</vt:lpstr>
      <vt:lpstr>Noto Serif</vt:lpstr>
      <vt:lpstr>Symbol</vt:lpstr>
      <vt:lpstr>1_SIX_Template_16_9_komprimiert</vt:lpstr>
      <vt:lpstr>think-cell Slide</vt:lpstr>
      <vt:lpstr>PowerPoint-Präsentation</vt:lpstr>
      <vt:lpstr>We are gamifying investing</vt:lpstr>
      <vt:lpstr>We are democratizing financial literacy</vt:lpstr>
      <vt:lpstr>Demo</vt:lpstr>
      <vt:lpstr>Driving revenue through increased participation</vt:lpstr>
      <vt:lpstr>We reach those traditionally exclud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zquez, Catalina</dc:creator>
  <cp:lastModifiedBy>Dario Ackermann</cp:lastModifiedBy>
  <cp:revision>2</cp:revision>
  <cp:lastPrinted>2018-03-26T07:18:33Z</cp:lastPrinted>
  <dcterms:created xsi:type="dcterms:W3CDTF">2023-03-20T11:07:44Z</dcterms:created>
  <dcterms:modified xsi:type="dcterms:W3CDTF">2023-03-24T08:5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F0FB350EB2F4BB4230A1EB71164FF</vt:lpwstr>
  </property>
  <property fmtid="{D5CDD505-2E9C-101B-9397-08002B2CF9AE}" pid="3" name="MSIP_Label_4da52270-6ed3-4abe-ba7c-b9255dadcdf9_Enabled">
    <vt:lpwstr>true</vt:lpwstr>
  </property>
  <property fmtid="{D5CDD505-2E9C-101B-9397-08002B2CF9AE}" pid="4" name="MSIP_Label_4da52270-6ed3-4abe-ba7c-b9255dadcdf9_SetDate">
    <vt:lpwstr>2023-03-20T15:20:02Z</vt:lpwstr>
  </property>
  <property fmtid="{D5CDD505-2E9C-101B-9397-08002B2CF9AE}" pid="5" name="MSIP_Label_4da52270-6ed3-4abe-ba7c-b9255dadcdf9_Method">
    <vt:lpwstr>Standard</vt:lpwstr>
  </property>
  <property fmtid="{D5CDD505-2E9C-101B-9397-08002B2CF9AE}" pid="6" name="MSIP_Label_4da52270-6ed3-4abe-ba7c-b9255dadcdf9_Name">
    <vt:lpwstr>4da52270-6ed3-4abe-ba7c-b9255dadcdf9</vt:lpwstr>
  </property>
  <property fmtid="{D5CDD505-2E9C-101B-9397-08002B2CF9AE}" pid="7" name="MSIP_Label_4da52270-6ed3-4abe-ba7c-b9255dadcdf9_SiteId">
    <vt:lpwstr>46e04f2b-093e-4ad0-a99f-0331aa506e12</vt:lpwstr>
  </property>
  <property fmtid="{D5CDD505-2E9C-101B-9397-08002B2CF9AE}" pid="8" name="MSIP_Label_4da52270-6ed3-4abe-ba7c-b9255dadcdf9_ActionId">
    <vt:lpwstr>d281d7b0-df99-41da-a22d-796371aff87a</vt:lpwstr>
  </property>
  <property fmtid="{D5CDD505-2E9C-101B-9397-08002B2CF9AE}" pid="9" name="MSIP_Label_4da52270-6ed3-4abe-ba7c-b9255dadcdf9_ContentBits">
    <vt:lpwstr>2</vt:lpwstr>
  </property>
</Properties>
</file>